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3"/>
  </p:notesMasterIdLst>
  <p:sldIdLst>
    <p:sldId id="258" r:id="rId2"/>
    <p:sldId id="309" r:id="rId3"/>
    <p:sldId id="759" r:id="rId4"/>
    <p:sldId id="760" r:id="rId5"/>
    <p:sldId id="266" r:id="rId6"/>
    <p:sldId id="310" r:id="rId7"/>
    <p:sldId id="311" r:id="rId8"/>
    <p:sldId id="312" r:id="rId9"/>
    <p:sldId id="313" r:id="rId10"/>
    <p:sldId id="314" r:id="rId11"/>
    <p:sldId id="315" r:id="rId12"/>
    <p:sldId id="274" r:id="rId13"/>
    <p:sldId id="275" r:id="rId14"/>
    <p:sldId id="322" r:id="rId15"/>
    <p:sldId id="323" r:id="rId16"/>
    <p:sldId id="316" r:id="rId17"/>
    <p:sldId id="317" r:id="rId18"/>
    <p:sldId id="318" r:id="rId19"/>
    <p:sldId id="319" r:id="rId20"/>
    <p:sldId id="320" r:id="rId21"/>
    <p:sldId id="321" r:id="rId22"/>
  </p:sldIdLst>
  <p:sldSz cx="9144000" cy="5143500" type="screen16x9"/>
  <p:notesSz cx="6858000" cy="9144000"/>
  <p:defaultTextStyle>
    <a:defPPr>
      <a:defRPr lang="zh-CN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29"/>
  </p:normalViewPr>
  <p:slideViewPr>
    <p:cSldViewPr snapToGrid="0" snapToObjects="1">
      <p:cViewPr varScale="1">
        <p:scale>
          <a:sx n="140" d="100"/>
          <a:sy n="140" d="100"/>
        </p:scale>
        <p:origin x="840" y="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9126AC-E05A-F84C-8B7D-8F4138D82117}" type="doc">
      <dgm:prSet loTypeId="urn:microsoft.com/office/officeart/2005/8/layout/hProcess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BDF52BB-EF3F-5647-A925-C9D55042387B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高价值</a:t>
          </a:r>
        </a:p>
      </dgm:t>
    </dgm:pt>
    <dgm:pt modelId="{01F663D1-164C-5F4B-8977-646645AE7F4C}" type="parTrans" cxnId="{11C77D20-C105-8D43-8CF2-1692D82F1DE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7E123AC-6CEF-9B41-B7D2-C9D80B3AF994}" type="sibTrans" cxnId="{11C77D20-C105-8D43-8CF2-1692D82F1DE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A747035-FE45-524E-95D9-53D5A9CA478B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季度一页纸</a:t>
          </a:r>
        </a:p>
      </dgm:t>
    </dgm:pt>
    <dgm:pt modelId="{83C5BA1C-34DC-6148-8B05-ECE08FC999EA}" type="parTrans" cxnId="{8C81B15B-378A-B544-A554-A0B394473173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2B52B1E-9E2B-4C4E-AC3D-9BE16B4A0FA6}" type="sibTrans" cxnId="{8C81B15B-378A-B544-A554-A0B394473173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604BF878-2055-394F-A36C-99D3725BA863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迭代</a:t>
          </a:r>
          <a:r>
            <a: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rPr>
            <a:t>Guidance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238D263-B888-5B4F-A8F3-3D8FDD778EC3}" type="parTrans" cxnId="{D5863CCC-AC83-8447-BA1F-39F3E393EE6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F27CA9B-6F29-8849-B281-080956C1EDE9}" type="sibTrans" cxnId="{D5863CCC-AC83-8447-BA1F-39F3E393EE6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1187B18-089B-F940-9264-22323915B1FB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条理清晰</a:t>
          </a:r>
        </a:p>
      </dgm:t>
    </dgm:pt>
    <dgm:pt modelId="{A4F14004-7CB9-934A-9E39-94A41AEF58D5}" type="parTrans" cxnId="{8610C489-CD04-2545-B0CD-A16B1662C185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7BFF6D0-2B01-FC42-A91D-A2ADF0E008CA}" type="sibTrans" cxnId="{8610C489-CD04-2545-B0CD-A16B1662C185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772ECBE-44E1-6644-9E0C-C9F9D03AAE2F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需求拆分</a:t>
          </a:r>
        </a:p>
      </dgm:t>
    </dgm:pt>
    <dgm:pt modelId="{8143B132-A814-8C40-B390-6D0B3E28065D}" type="parTrans" cxnId="{052FF87E-F077-5549-B001-25B28874C0A1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5E3D207-5A82-0746-8A93-923A3524BB35}" type="sibTrans" cxnId="{052FF87E-F077-5549-B001-25B28874C0A1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4BCE46BD-5E48-DB4B-8D75-E63293DC8681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适应变化</a:t>
          </a:r>
        </a:p>
      </dgm:t>
    </dgm:pt>
    <dgm:pt modelId="{FA5AA8EF-3858-E243-9BD6-66FB57FD8D58}" type="parTrans" cxnId="{DE4FDFAB-1D9A-DA48-B02D-75F9BF9E73FF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C23EB290-88A2-704A-838F-6F9764FB2719}" type="sibTrans" cxnId="{DE4FDFAB-1D9A-DA48-B02D-75F9BF9E73FF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153D66F-5BA9-D645-93D6-407109E47184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优先级划分</a:t>
          </a:r>
        </a:p>
      </dgm:t>
    </dgm:pt>
    <dgm:pt modelId="{64AC71E7-8BB9-9A4D-8C5F-67C9ABA1ED74}" type="parTrans" cxnId="{E2968A3D-69BC-E044-A151-D4C3A275FA64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06929D2-587D-594C-B3D5-6B11163C2E2A}" type="sibTrans" cxnId="{E2968A3D-69BC-E044-A151-D4C3A275FA64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A10BF84-4B87-7843-98E2-3C93DEC7A822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动态调整的需求内容</a:t>
          </a:r>
        </a:p>
      </dgm:t>
    </dgm:pt>
    <dgm:pt modelId="{DCBBFD0E-3CAB-234E-A2B8-B43954E98505}" type="parTrans" cxnId="{046EAA30-41E3-F54B-8FE6-FC3711083DF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9883FF50-B927-284D-96D3-FFCF7EE1F864}" type="sibTrans" cxnId="{046EAA30-41E3-F54B-8FE6-FC3711083DF9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D3CBC5E-DC62-AF4D-AD10-0E75CB365B64}">
      <dgm:prSet phldrT="[文本]"/>
      <dgm:spPr/>
      <dgm:t>
        <a:bodyPr/>
        <a:lstStyle/>
        <a:p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6DA204F-88C5-2543-A2CC-BB8F91FEEEAC}" type="parTrans" cxnId="{2FB37425-E87F-3145-941B-4DC6912E23E2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77DAD64-37EE-BD48-97BD-3DD7B222DAF0}" type="sibTrans" cxnId="{2FB37425-E87F-3145-941B-4DC6912E23E2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35A5802-E22E-B343-A7D5-9261F4093174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卡片层级划分</a:t>
          </a:r>
        </a:p>
      </dgm:t>
    </dgm:pt>
    <dgm:pt modelId="{928F0126-C0FD-4D40-8758-78F45F8CD2B0}" type="parTrans" cxnId="{098DED57-9B7B-DE44-BDEF-DB88C96E1BBF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030DC296-002D-154C-A8AF-AFD3B9F7297B}" type="sibTrans" cxnId="{098DED57-9B7B-DE44-BDEF-DB88C96E1BBF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47AD810-C0C5-4B49-940A-248BE8DCA9FC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产品价值一页纸</a:t>
          </a:r>
        </a:p>
      </dgm:t>
    </dgm:pt>
    <dgm:pt modelId="{AC493CBE-1147-E845-85D0-560873A69270}" type="parTrans" cxnId="{CC495577-9A53-BA45-8D87-948484F9DF5E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21E1714-9AA2-AD43-94EE-DC56E4B0649A}" type="sibTrans" cxnId="{CC495577-9A53-BA45-8D87-948484F9DF5E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7FF392E-C96F-1C4F-9223-FCCE159E7EA5}">
      <dgm:prSet phldrT="[文本]"/>
      <dgm:spPr/>
      <dgm:t>
        <a:bodyPr/>
        <a:lstStyle/>
        <a:p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迭代</a:t>
          </a:r>
          <a:r>
            <a: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rPr>
            <a:t>plan</a:t>
          </a:r>
          <a:r>
            <a: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rPr>
            <a:t>、</a:t>
          </a:r>
          <a:r>
            <a:rPr lang="en-US" altLang="zh-CN" dirty="0" err="1">
              <a:latin typeface="Microsoft YaHei" panose="020B0503020204020204" pitchFamily="34" charset="-122"/>
              <a:ea typeface="Microsoft YaHei" panose="020B0503020204020204" pitchFamily="34" charset="-122"/>
            </a:rPr>
            <a:t>showtell</a:t>
          </a:r>
          <a:endParaRPr lang="zh-CN" altLang="en-US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F10C4CA7-5966-994F-9A44-16E38610B792}" type="parTrans" cxnId="{7A94B68E-F036-3842-9F2E-FD57EC34ED5C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9ECF584-A1F8-AC48-8DAA-7404C28BCBFC}" type="sibTrans" cxnId="{7A94B68E-F036-3842-9F2E-FD57EC34ED5C}">
      <dgm:prSet/>
      <dgm:spPr/>
      <dgm:t>
        <a:bodyPr/>
        <a:lstStyle/>
        <a:p>
          <a:endParaRPr lang="zh-CN" altLang="en-US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74AB96E-01C1-C342-8261-63AD6AB02AFE}" type="pres">
      <dgm:prSet presAssocID="{AA9126AC-E05A-F84C-8B7D-8F4138D82117}" presName="Name0" presStyleCnt="0">
        <dgm:presLayoutVars>
          <dgm:dir/>
          <dgm:animLvl val="lvl"/>
          <dgm:resizeHandles val="exact"/>
        </dgm:presLayoutVars>
      </dgm:prSet>
      <dgm:spPr/>
    </dgm:pt>
    <dgm:pt modelId="{3ECBAA82-B329-9442-B5CE-B0BF75C84DA2}" type="pres">
      <dgm:prSet presAssocID="{AA9126AC-E05A-F84C-8B7D-8F4138D82117}" presName="tSp" presStyleCnt="0"/>
      <dgm:spPr/>
    </dgm:pt>
    <dgm:pt modelId="{89CEF228-34D6-9D44-98D2-F0EC31BB2AD2}" type="pres">
      <dgm:prSet presAssocID="{AA9126AC-E05A-F84C-8B7D-8F4138D82117}" presName="bSp" presStyleCnt="0"/>
      <dgm:spPr/>
    </dgm:pt>
    <dgm:pt modelId="{68232425-8066-F34D-8C8E-5C24055DAA4F}" type="pres">
      <dgm:prSet presAssocID="{AA9126AC-E05A-F84C-8B7D-8F4138D82117}" presName="process" presStyleCnt="0"/>
      <dgm:spPr/>
    </dgm:pt>
    <dgm:pt modelId="{EEDADF4B-DF07-1443-AB0B-4CB80ECD9409}" type="pres">
      <dgm:prSet presAssocID="{0BDF52BB-EF3F-5647-A925-C9D55042387B}" presName="composite1" presStyleCnt="0"/>
      <dgm:spPr/>
    </dgm:pt>
    <dgm:pt modelId="{4055E81A-09B4-6C46-9EA1-02248AB6516D}" type="pres">
      <dgm:prSet presAssocID="{0BDF52BB-EF3F-5647-A925-C9D55042387B}" presName="dummyNode1" presStyleLbl="node1" presStyleIdx="0" presStyleCnt="3"/>
      <dgm:spPr/>
    </dgm:pt>
    <dgm:pt modelId="{C6EE401E-3D4C-5648-BBC4-B167C84C563A}" type="pres">
      <dgm:prSet presAssocID="{0BDF52BB-EF3F-5647-A925-C9D55042387B}" presName="childNode1" presStyleLbl="bgAcc1" presStyleIdx="0" presStyleCnt="3">
        <dgm:presLayoutVars>
          <dgm:bulletEnabled val="1"/>
        </dgm:presLayoutVars>
      </dgm:prSet>
      <dgm:spPr/>
    </dgm:pt>
    <dgm:pt modelId="{D86BC072-03A0-1048-A502-FE76C6CD8C8A}" type="pres">
      <dgm:prSet presAssocID="{0BDF52BB-EF3F-5647-A925-C9D55042387B}" presName="childNode1tx" presStyleLbl="bgAcc1" presStyleIdx="0" presStyleCnt="3">
        <dgm:presLayoutVars>
          <dgm:bulletEnabled val="1"/>
        </dgm:presLayoutVars>
      </dgm:prSet>
      <dgm:spPr/>
    </dgm:pt>
    <dgm:pt modelId="{3DD30551-58AE-074F-9DFE-B7831827AEA3}" type="pres">
      <dgm:prSet presAssocID="{0BDF52BB-EF3F-5647-A925-C9D55042387B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9DEF011B-9A25-2845-9201-C6BF52BEB472}" type="pres">
      <dgm:prSet presAssocID="{0BDF52BB-EF3F-5647-A925-C9D55042387B}" presName="connSite1" presStyleCnt="0"/>
      <dgm:spPr/>
    </dgm:pt>
    <dgm:pt modelId="{BF79BC1A-16E4-4046-9C64-DDCFBA6762A8}" type="pres">
      <dgm:prSet presAssocID="{B7E123AC-6CEF-9B41-B7D2-C9D80B3AF994}" presName="Name9" presStyleLbl="sibTrans2D1" presStyleIdx="0" presStyleCnt="2"/>
      <dgm:spPr/>
    </dgm:pt>
    <dgm:pt modelId="{FAE5A1DE-038A-BE43-AE6A-6B169BA1695D}" type="pres">
      <dgm:prSet presAssocID="{C1187B18-089B-F940-9264-22323915B1FB}" presName="composite2" presStyleCnt="0"/>
      <dgm:spPr/>
    </dgm:pt>
    <dgm:pt modelId="{844A5E9A-D730-1D4E-A5AC-173F27BDD72E}" type="pres">
      <dgm:prSet presAssocID="{C1187B18-089B-F940-9264-22323915B1FB}" presName="dummyNode2" presStyleLbl="node1" presStyleIdx="0" presStyleCnt="3"/>
      <dgm:spPr/>
    </dgm:pt>
    <dgm:pt modelId="{DE421DC4-815C-BD44-8816-8DAF510DC2D4}" type="pres">
      <dgm:prSet presAssocID="{C1187B18-089B-F940-9264-22323915B1FB}" presName="childNode2" presStyleLbl="bgAcc1" presStyleIdx="1" presStyleCnt="3">
        <dgm:presLayoutVars>
          <dgm:bulletEnabled val="1"/>
        </dgm:presLayoutVars>
      </dgm:prSet>
      <dgm:spPr/>
    </dgm:pt>
    <dgm:pt modelId="{20AF574E-AFD4-5740-9337-02146A69A136}" type="pres">
      <dgm:prSet presAssocID="{C1187B18-089B-F940-9264-22323915B1FB}" presName="childNode2tx" presStyleLbl="bgAcc1" presStyleIdx="1" presStyleCnt="3">
        <dgm:presLayoutVars>
          <dgm:bulletEnabled val="1"/>
        </dgm:presLayoutVars>
      </dgm:prSet>
      <dgm:spPr/>
    </dgm:pt>
    <dgm:pt modelId="{E48741C1-B5B7-3C4A-A0F2-018A96A15A39}" type="pres">
      <dgm:prSet presAssocID="{C1187B18-089B-F940-9264-22323915B1FB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E3BD5F50-F67B-F347-A2DF-06251DD22444}" type="pres">
      <dgm:prSet presAssocID="{C1187B18-089B-F940-9264-22323915B1FB}" presName="connSite2" presStyleCnt="0"/>
      <dgm:spPr/>
    </dgm:pt>
    <dgm:pt modelId="{591AA343-8194-A140-8B86-B92AF9D212BB}" type="pres">
      <dgm:prSet presAssocID="{17BFF6D0-2B01-FC42-A91D-A2ADF0E008CA}" presName="Name18" presStyleLbl="sibTrans2D1" presStyleIdx="1" presStyleCnt="2"/>
      <dgm:spPr/>
    </dgm:pt>
    <dgm:pt modelId="{07B5C083-3E10-2D4D-8A62-29B4D80B9534}" type="pres">
      <dgm:prSet presAssocID="{4BCE46BD-5E48-DB4B-8D75-E63293DC8681}" presName="composite1" presStyleCnt="0"/>
      <dgm:spPr/>
    </dgm:pt>
    <dgm:pt modelId="{957DAF3A-2D1B-DF4A-8881-B50759454E0F}" type="pres">
      <dgm:prSet presAssocID="{4BCE46BD-5E48-DB4B-8D75-E63293DC8681}" presName="dummyNode1" presStyleLbl="node1" presStyleIdx="1" presStyleCnt="3"/>
      <dgm:spPr/>
    </dgm:pt>
    <dgm:pt modelId="{B6A3D984-4DF5-9F41-8C56-192F8B1CFCB9}" type="pres">
      <dgm:prSet presAssocID="{4BCE46BD-5E48-DB4B-8D75-E63293DC8681}" presName="childNode1" presStyleLbl="bgAcc1" presStyleIdx="2" presStyleCnt="3">
        <dgm:presLayoutVars>
          <dgm:bulletEnabled val="1"/>
        </dgm:presLayoutVars>
      </dgm:prSet>
      <dgm:spPr/>
    </dgm:pt>
    <dgm:pt modelId="{35B03601-EB78-A74E-B274-806F2E1885F6}" type="pres">
      <dgm:prSet presAssocID="{4BCE46BD-5E48-DB4B-8D75-E63293DC8681}" presName="childNode1tx" presStyleLbl="bgAcc1" presStyleIdx="2" presStyleCnt="3">
        <dgm:presLayoutVars>
          <dgm:bulletEnabled val="1"/>
        </dgm:presLayoutVars>
      </dgm:prSet>
      <dgm:spPr/>
    </dgm:pt>
    <dgm:pt modelId="{B6A88857-296A-C14D-80F8-7E92C9049EAD}" type="pres">
      <dgm:prSet presAssocID="{4BCE46BD-5E48-DB4B-8D75-E63293DC8681}" presName="parentNode1" presStyleLbl="node1" presStyleIdx="2" presStyleCnt="3">
        <dgm:presLayoutVars>
          <dgm:chMax val="1"/>
          <dgm:bulletEnabled val="1"/>
        </dgm:presLayoutVars>
      </dgm:prSet>
      <dgm:spPr/>
    </dgm:pt>
    <dgm:pt modelId="{AF046B53-A489-2C4A-9E9C-B3930B570FDD}" type="pres">
      <dgm:prSet presAssocID="{4BCE46BD-5E48-DB4B-8D75-E63293DC8681}" presName="connSite1" presStyleCnt="0"/>
      <dgm:spPr/>
    </dgm:pt>
  </dgm:ptLst>
  <dgm:cxnLst>
    <dgm:cxn modelId="{0095B600-012A-1D46-AD4C-AED4DAEEB27F}" type="presOf" srcId="{3772ECBE-44E1-6644-9E0C-C9F9D03AAE2F}" destId="{DE421DC4-815C-BD44-8816-8DAF510DC2D4}" srcOrd="0" destOrd="2" presId="urn:microsoft.com/office/officeart/2005/8/layout/hProcess4"/>
    <dgm:cxn modelId="{EF29FF12-66FC-5D4A-9C98-A973AED38DAF}" type="presOf" srcId="{604BF878-2055-394F-A36C-99D3725BA863}" destId="{C6EE401E-3D4C-5648-BBC4-B167C84C563A}" srcOrd="0" destOrd="2" presId="urn:microsoft.com/office/officeart/2005/8/layout/hProcess4"/>
    <dgm:cxn modelId="{E17A711F-56CA-0A44-AFC3-35037364DED1}" type="presOf" srcId="{77FF392E-C96F-1C4F-9223-FCCE159E7EA5}" destId="{C6EE401E-3D4C-5648-BBC4-B167C84C563A}" srcOrd="0" destOrd="3" presId="urn:microsoft.com/office/officeart/2005/8/layout/hProcess4"/>
    <dgm:cxn modelId="{11C77D20-C105-8D43-8CF2-1692D82F1DE9}" srcId="{AA9126AC-E05A-F84C-8B7D-8F4138D82117}" destId="{0BDF52BB-EF3F-5647-A925-C9D55042387B}" srcOrd="0" destOrd="0" parTransId="{01F663D1-164C-5F4B-8977-646645AE7F4C}" sibTransId="{B7E123AC-6CEF-9B41-B7D2-C9D80B3AF994}"/>
    <dgm:cxn modelId="{2FB37425-E87F-3145-941B-4DC6912E23E2}" srcId="{C1187B18-089B-F940-9264-22323915B1FB}" destId="{7D3CBC5E-DC62-AF4D-AD10-0E75CB365B64}" srcOrd="0" destOrd="0" parTransId="{A6DA204F-88C5-2543-A2CC-BB8F91FEEEAC}" sibTransId="{077DAD64-37EE-BD48-97BD-3DD7B222DAF0}"/>
    <dgm:cxn modelId="{046EAA30-41E3-F54B-8FE6-FC3711083DF9}" srcId="{4BCE46BD-5E48-DB4B-8D75-E63293DC8681}" destId="{8A10BF84-4B87-7843-98E2-3C93DEC7A822}" srcOrd="1" destOrd="0" parTransId="{DCBBFD0E-3CAB-234E-A2B8-B43954E98505}" sibTransId="{9883FF50-B927-284D-96D3-FFCF7EE1F864}"/>
    <dgm:cxn modelId="{FCF2C337-8C20-1A42-BF0E-E6B2AF76779E}" type="presOf" srcId="{8A10BF84-4B87-7843-98E2-3C93DEC7A822}" destId="{B6A3D984-4DF5-9F41-8C56-192F8B1CFCB9}" srcOrd="0" destOrd="1" presId="urn:microsoft.com/office/officeart/2005/8/layout/hProcess4"/>
    <dgm:cxn modelId="{E2968A3D-69BC-E044-A151-D4C3A275FA64}" srcId="{4BCE46BD-5E48-DB4B-8D75-E63293DC8681}" destId="{0153D66F-5BA9-D645-93D6-407109E47184}" srcOrd="0" destOrd="0" parTransId="{64AC71E7-8BB9-9A4D-8C5F-67C9ABA1ED74}" sibTransId="{106929D2-587D-594C-B3D5-6B11163C2E2A}"/>
    <dgm:cxn modelId="{95458449-B5EF-2C48-BABD-4B2278158779}" type="presOf" srcId="{7D3CBC5E-DC62-AF4D-AD10-0E75CB365B64}" destId="{DE421DC4-815C-BD44-8816-8DAF510DC2D4}" srcOrd="0" destOrd="0" presId="urn:microsoft.com/office/officeart/2005/8/layout/hProcess4"/>
    <dgm:cxn modelId="{7823654B-9F4E-4749-8E47-2DF564F6D9B4}" type="presOf" srcId="{4A747035-FE45-524E-95D9-53D5A9CA478B}" destId="{C6EE401E-3D4C-5648-BBC4-B167C84C563A}" srcOrd="0" destOrd="1" presId="urn:microsoft.com/office/officeart/2005/8/layout/hProcess4"/>
    <dgm:cxn modelId="{18F1F74D-36D6-BC4C-BF0D-0717D53B5F0C}" type="presOf" srcId="{B7E123AC-6CEF-9B41-B7D2-C9D80B3AF994}" destId="{BF79BC1A-16E4-4046-9C64-DDCFBA6762A8}" srcOrd="0" destOrd="0" presId="urn:microsoft.com/office/officeart/2005/8/layout/hProcess4"/>
    <dgm:cxn modelId="{098DED57-9B7B-DE44-BDEF-DB88C96E1BBF}" srcId="{C1187B18-089B-F940-9264-22323915B1FB}" destId="{735A5802-E22E-B343-A7D5-9261F4093174}" srcOrd="1" destOrd="0" parTransId="{928F0126-C0FD-4D40-8758-78F45F8CD2B0}" sibTransId="{030DC296-002D-154C-A8AF-AFD3B9F7297B}"/>
    <dgm:cxn modelId="{BD50B15A-A7F3-5E49-809D-DCCDBFE12EAC}" type="presOf" srcId="{AA9126AC-E05A-F84C-8B7D-8F4138D82117}" destId="{374AB96E-01C1-C342-8261-63AD6AB02AFE}" srcOrd="0" destOrd="0" presId="urn:microsoft.com/office/officeart/2005/8/layout/hProcess4"/>
    <dgm:cxn modelId="{8C81B15B-378A-B544-A554-A0B394473173}" srcId="{0BDF52BB-EF3F-5647-A925-C9D55042387B}" destId="{4A747035-FE45-524E-95D9-53D5A9CA478B}" srcOrd="1" destOrd="0" parTransId="{83C5BA1C-34DC-6148-8B05-ECE08FC999EA}" sibTransId="{82B52B1E-9E2B-4C4E-AC3D-9BE16B4A0FA6}"/>
    <dgm:cxn modelId="{FB18316B-D216-A74D-8235-9B9AB414317B}" type="presOf" srcId="{0BDF52BB-EF3F-5647-A925-C9D55042387B}" destId="{3DD30551-58AE-074F-9DFE-B7831827AEA3}" srcOrd="0" destOrd="0" presId="urn:microsoft.com/office/officeart/2005/8/layout/hProcess4"/>
    <dgm:cxn modelId="{CC495577-9A53-BA45-8D87-948484F9DF5E}" srcId="{0BDF52BB-EF3F-5647-A925-C9D55042387B}" destId="{147AD810-C0C5-4B49-940A-248BE8DCA9FC}" srcOrd="0" destOrd="0" parTransId="{AC493CBE-1147-E845-85D0-560873A69270}" sibTransId="{721E1714-9AA2-AD43-94EE-DC56E4B0649A}"/>
    <dgm:cxn modelId="{6A31DB78-3585-7447-B8F1-327D0C58AFDD}" type="presOf" srcId="{4BCE46BD-5E48-DB4B-8D75-E63293DC8681}" destId="{B6A88857-296A-C14D-80F8-7E92C9049EAD}" srcOrd="0" destOrd="0" presId="urn:microsoft.com/office/officeart/2005/8/layout/hProcess4"/>
    <dgm:cxn modelId="{8D7BFA78-F8FF-C24E-B3D3-E5929C1961D9}" type="presOf" srcId="{17BFF6D0-2B01-FC42-A91D-A2ADF0E008CA}" destId="{591AA343-8194-A140-8B86-B92AF9D212BB}" srcOrd="0" destOrd="0" presId="urn:microsoft.com/office/officeart/2005/8/layout/hProcess4"/>
    <dgm:cxn modelId="{052FF87E-F077-5549-B001-25B28874C0A1}" srcId="{C1187B18-089B-F940-9264-22323915B1FB}" destId="{3772ECBE-44E1-6644-9E0C-C9F9D03AAE2F}" srcOrd="2" destOrd="0" parTransId="{8143B132-A814-8C40-B390-6D0B3E28065D}" sibTransId="{45E3D207-5A82-0746-8A93-923A3524BB35}"/>
    <dgm:cxn modelId="{8610C489-CD04-2545-B0CD-A16B1662C185}" srcId="{AA9126AC-E05A-F84C-8B7D-8F4138D82117}" destId="{C1187B18-089B-F940-9264-22323915B1FB}" srcOrd="1" destOrd="0" parTransId="{A4F14004-7CB9-934A-9E39-94A41AEF58D5}" sibTransId="{17BFF6D0-2B01-FC42-A91D-A2ADF0E008CA}"/>
    <dgm:cxn modelId="{7A94B68E-F036-3842-9F2E-FD57EC34ED5C}" srcId="{0BDF52BB-EF3F-5647-A925-C9D55042387B}" destId="{77FF392E-C96F-1C4F-9223-FCCE159E7EA5}" srcOrd="3" destOrd="0" parTransId="{F10C4CA7-5966-994F-9A44-16E38610B792}" sibTransId="{79ECF584-A1F8-AC48-8DAA-7404C28BCBFC}"/>
    <dgm:cxn modelId="{4CF83798-F2F7-F14C-9427-71A8EBF24D5F}" type="presOf" srcId="{7D3CBC5E-DC62-AF4D-AD10-0E75CB365B64}" destId="{20AF574E-AFD4-5740-9337-02146A69A136}" srcOrd="1" destOrd="0" presId="urn:microsoft.com/office/officeart/2005/8/layout/hProcess4"/>
    <dgm:cxn modelId="{C8B3E29C-8D56-BC47-A0DA-179B8D1BD711}" type="presOf" srcId="{3772ECBE-44E1-6644-9E0C-C9F9D03AAE2F}" destId="{20AF574E-AFD4-5740-9337-02146A69A136}" srcOrd="1" destOrd="2" presId="urn:microsoft.com/office/officeart/2005/8/layout/hProcess4"/>
    <dgm:cxn modelId="{83C6D2A1-9DEA-064A-8EB4-C613477A519A}" type="presOf" srcId="{147AD810-C0C5-4B49-940A-248BE8DCA9FC}" destId="{C6EE401E-3D4C-5648-BBC4-B167C84C563A}" srcOrd="0" destOrd="0" presId="urn:microsoft.com/office/officeart/2005/8/layout/hProcess4"/>
    <dgm:cxn modelId="{E20DEBA1-3EF9-2347-85B9-1E8E246BE306}" type="presOf" srcId="{604BF878-2055-394F-A36C-99D3725BA863}" destId="{D86BC072-03A0-1048-A502-FE76C6CD8C8A}" srcOrd="1" destOrd="2" presId="urn:microsoft.com/office/officeart/2005/8/layout/hProcess4"/>
    <dgm:cxn modelId="{DE4FDFAB-1D9A-DA48-B02D-75F9BF9E73FF}" srcId="{AA9126AC-E05A-F84C-8B7D-8F4138D82117}" destId="{4BCE46BD-5E48-DB4B-8D75-E63293DC8681}" srcOrd="2" destOrd="0" parTransId="{FA5AA8EF-3858-E243-9BD6-66FB57FD8D58}" sibTransId="{C23EB290-88A2-704A-838F-6F9764FB2719}"/>
    <dgm:cxn modelId="{1EE54BB3-E829-E840-96CC-0494D32914B8}" type="presOf" srcId="{0153D66F-5BA9-D645-93D6-407109E47184}" destId="{35B03601-EB78-A74E-B274-806F2E1885F6}" srcOrd="1" destOrd="0" presId="urn:microsoft.com/office/officeart/2005/8/layout/hProcess4"/>
    <dgm:cxn modelId="{E3F132BB-3613-D34F-834D-4AE4D4411138}" type="presOf" srcId="{C1187B18-089B-F940-9264-22323915B1FB}" destId="{E48741C1-B5B7-3C4A-A0F2-018A96A15A39}" srcOrd="0" destOrd="0" presId="urn:microsoft.com/office/officeart/2005/8/layout/hProcess4"/>
    <dgm:cxn modelId="{D5863CCC-AC83-8447-BA1F-39F3E393EE69}" srcId="{0BDF52BB-EF3F-5647-A925-C9D55042387B}" destId="{604BF878-2055-394F-A36C-99D3725BA863}" srcOrd="2" destOrd="0" parTransId="{2238D263-B888-5B4F-A8F3-3D8FDD778EC3}" sibTransId="{AF27CA9B-6F29-8849-B281-080956C1EDE9}"/>
    <dgm:cxn modelId="{66BA32CD-6D95-3A4A-864A-28809487CB2F}" type="presOf" srcId="{8A10BF84-4B87-7843-98E2-3C93DEC7A822}" destId="{35B03601-EB78-A74E-B274-806F2E1885F6}" srcOrd="1" destOrd="1" presId="urn:microsoft.com/office/officeart/2005/8/layout/hProcess4"/>
    <dgm:cxn modelId="{E1492ED5-B5AB-444A-98BF-C9A61B69650A}" type="presOf" srcId="{0153D66F-5BA9-D645-93D6-407109E47184}" destId="{B6A3D984-4DF5-9F41-8C56-192F8B1CFCB9}" srcOrd="0" destOrd="0" presId="urn:microsoft.com/office/officeart/2005/8/layout/hProcess4"/>
    <dgm:cxn modelId="{44F011D8-DB59-724B-9BFB-8EE592F2EE22}" type="presOf" srcId="{735A5802-E22E-B343-A7D5-9261F4093174}" destId="{20AF574E-AFD4-5740-9337-02146A69A136}" srcOrd="1" destOrd="1" presId="urn:microsoft.com/office/officeart/2005/8/layout/hProcess4"/>
    <dgm:cxn modelId="{C8B71FDC-2232-304A-A7CD-8CED59C19E5D}" type="presOf" srcId="{735A5802-E22E-B343-A7D5-9261F4093174}" destId="{DE421DC4-815C-BD44-8816-8DAF510DC2D4}" srcOrd="0" destOrd="1" presId="urn:microsoft.com/office/officeart/2005/8/layout/hProcess4"/>
    <dgm:cxn modelId="{13EB3ADC-D998-3D46-9DC3-0B3F2D6BB5D4}" type="presOf" srcId="{4A747035-FE45-524E-95D9-53D5A9CA478B}" destId="{D86BC072-03A0-1048-A502-FE76C6CD8C8A}" srcOrd="1" destOrd="1" presId="urn:microsoft.com/office/officeart/2005/8/layout/hProcess4"/>
    <dgm:cxn modelId="{0841D8EC-F59D-5344-8D17-9D735169FA1F}" type="presOf" srcId="{147AD810-C0C5-4B49-940A-248BE8DCA9FC}" destId="{D86BC072-03A0-1048-A502-FE76C6CD8C8A}" srcOrd="1" destOrd="0" presId="urn:microsoft.com/office/officeart/2005/8/layout/hProcess4"/>
    <dgm:cxn modelId="{2F2746EE-34A0-F64F-9281-8EBA364A560D}" type="presOf" srcId="{77FF392E-C96F-1C4F-9223-FCCE159E7EA5}" destId="{D86BC072-03A0-1048-A502-FE76C6CD8C8A}" srcOrd="1" destOrd="3" presId="urn:microsoft.com/office/officeart/2005/8/layout/hProcess4"/>
    <dgm:cxn modelId="{442971A6-C958-7F47-A2FE-23F562CB70F0}" type="presParOf" srcId="{374AB96E-01C1-C342-8261-63AD6AB02AFE}" destId="{3ECBAA82-B329-9442-B5CE-B0BF75C84DA2}" srcOrd="0" destOrd="0" presId="urn:microsoft.com/office/officeart/2005/8/layout/hProcess4"/>
    <dgm:cxn modelId="{C853F10C-7990-4144-B898-F6F6C467170B}" type="presParOf" srcId="{374AB96E-01C1-C342-8261-63AD6AB02AFE}" destId="{89CEF228-34D6-9D44-98D2-F0EC31BB2AD2}" srcOrd="1" destOrd="0" presId="urn:microsoft.com/office/officeart/2005/8/layout/hProcess4"/>
    <dgm:cxn modelId="{73C06C72-EAEB-7745-B669-5D2B2BC619B3}" type="presParOf" srcId="{374AB96E-01C1-C342-8261-63AD6AB02AFE}" destId="{68232425-8066-F34D-8C8E-5C24055DAA4F}" srcOrd="2" destOrd="0" presId="urn:microsoft.com/office/officeart/2005/8/layout/hProcess4"/>
    <dgm:cxn modelId="{451469D6-8A99-1E44-AB0F-E96BDFA90066}" type="presParOf" srcId="{68232425-8066-F34D-8C8E-5C24055DAA4F}" destId="{EEDADF4B-DF07-1443-AB0B-4CB80ECD9409}" srcOrd="0" destOrd="0" presId="urn:microsoft.com/office/officeart/2005/8/layout/hProcess4"/>
    <dgm:cxn modelId="{D1517288-F5B6-A341-9D66-49D599FB574E}" type="presParOf" srcId="{EEDADF4B-DF07-1443-AB0B-4CB80ECD9409}" destId="{4055E81A-09B4-6C46-9EA1-02248AB6516D}" srcOrd="0" destOrd="0" presId="urn:microsoft.com/office/officeart/2005/8/layout/hProcess4"/>
    <dgm:cxn modelId="{55F4277F-C312-3C40-B546-8A206A24DB02}" type="presParOf" srcId="{EEDADF4B-DF07-1443-AB0B-4CB80ECD9409}" destId="{C6EE401E-3D4C-5648-BBC4-B167C84C563A}" srcOrd="1" destOrd="0" presId="urn:microsoft.com/office/officeart/2005/8/layout/hProcess4"/>
    <dgm:cxn modelId="{205BDB19-2CBD-6D4C-94EB-86EC61D09937}" type="presParOf" srcId="{EEDADF4B-DF07-1443-AB0B-4CB80ECD9409}" destId="{D86BC072-03A0-1048-A502-FE76C6CD8C8A}" srcOrd="2" destOrd="0" presId="urn:microsoft.com/office/officeart/2005/8/layout/hProcess4"/>
    <dgm:cxn modelId="{81EE0DE0-256F-064D-8B38-6BEE3B7C3D7D}" type="presParOf" srcId="{EEDADF4B-DF07-1443-AB0B-4CB80ECD9409}" destId="{3DD30551-58AE-074F-9DFE-B7831827AEA3}" srcOrd="3" destOrd="0" presId="urn:microsoft.com/office/officeart/2005/8/layout/hProcess4"/>
    <dgm:cxn modelId="{B575AC63-1CFD-4C4E-9464-55933CFE523E}" type="presParOf" srcId="{EEDADF4B-DF07-1443-AB0B-4CB80ECD9409}" destId="{9DEF011B-9A25-2845-9201-C6BF52BEB472}" srcOrd="4" destOrd="0" presId="urn:microsoft.com/office/officeart/2005/8/layout/hProcess4"/>
    <dgm:cxn modelId="{70DB7E37-23DB-F440-BE05-D183AC0FFBC4}" type="presParOf" srcId="{68232425-8066-F34D-8C8E-5C24055DAA4F}" destId="{BF79BC1A-16E4-4046-9C64-DDCFBA6762A8}" srcOrd="1" destOrd="0" presId="urn:microsoft.com/office/officeart/2005/8/layout/hProcess4"/>
    <dgm:cxn modelId="{9D2A0615-325B-F84D-AC2E-4AB64054481A}" type="presParOf" srcId="{68232425-8066-F34D-8C8E-5C24055DAA4F}" destId="{FAE5A1DE-038A-BE43-AE6A-6B169BA1695D}" srcOrd="2" destOrd="0" presId="urn:microsoft.com/office/officeart/2005/8/layout/hProcess4"/>
    <dgm:cxn modelId="{E442B0AD-3A48-1949-B730-F95BB8E4F3C6}" type="presParOf" srcId="{FAE5A1DE-038A-BE43-AE6A-6B169BA1695D}" destId="{844A5E9A-D730-1D4E-A5AC-173F27BDD72E}" srcOrd="0" destOrd="0" presId="urn:microsoft.com/office/officeart/2005/8/layout/hProcess4"/>
    <dgm:cxn modelId="{16FDCD92-891E-764E-BC6F-F32A63C80A74}" type="presParOf" srcId="{FAE5A1DE-038A-BE43-AE6A-6B169BA1695D}" destId="{DE421DC4-815C-BD44-8816-8DAF510DC2D4}" srcOrd="1" destOrd="0" presId="urn:microsoft.com/office/officeart/2005/8/layout/hProcess4"/>
    <dgm:cxn modelId="{50B6F9F7-DF45-E144-B4C1-053FECA13F28}" type="presParOf" srcId="{FAE5A1DE-038A-BE43-AE6A-6B169BA1695D}" destId="{20AF574E-AFD4-5740-9337-02146A69A136}" srcOrd="2" destOrd="0" presId="urn:microsoft.com/office/officeart/2005/8/layout/hProcess4"/>
    <dgm:cxn modelId="{52563EF3-8821-8945-9800-130D1D12F382}" type="presParOf" srcId="{FAE5A1DE-038A-BE43-AE6A-6B169BA1695D}" destId="{E48741C1-B5B7-3C4A-A0F2-018A96A15A39}" srcOrd="3" destOrd="0" presId="urn:microsoft.com/office/officeart/2005/8/layout/hProcess4"/>
    <dgm:cxn modelId="{E847E6EF-6A85-D14C-AAAB-6F74CFBF0DB6}" type="presParOf" srcId="{FAE5A1DE-038A-BE43-AE6A-6B169BA1695D}" destId="{E3BD5F50-F67B-F347-A2DF-06251DD22444}" srcOrd="4" destOrd="0" presId="urn:microsoft.com/office/officeart/2005/8/layout/hProcess4"/>
    <dgm:cxn modelId="{52526BB3-045F-9E44-B787-B313943C2DDB}" type="presParOf" srcId="{68232425-8066-F34D-8C8E-5C24055DAA4F}" destId="{591AA343-8194-A140-8B86-B92AF9D212BB}" srcOrd="3" destOrd="0" presId="urn:microsoft.com/office/officeart/2005/8/layout/hProcess4"/>
    <dgm:cxn modelId="{D855AF45-9DB0-FF49-A454-64EBB0231691}" type="presParOf" srcId="{68232425-8066-F34D-8C8E-5C24055DAA4F}" destId="{07B5C083-3E10-2D4D-8A62-29B4D80B9534}" srcOrd="4" destOrd="0" presId="urn:microsoft.com/office/officeart/2005/8/layout/hProcess4"/>
    <dgm:cxn modelId="{F63AD956-CD28-FB43-B5DA-774B6555B043}" type="presParOf" srcId="{07B5C083-3E10-2D4D-8A62-29B4D80B9534}" destId="{957DAF3A-2D1B-DF4A-8881-B50759454E0F}" srcOrd="0" destOrd="0" presId="urn:microsoft.com/office/officeart/2005/8/layout/hProcess4"/>
    <dgm:cxn modelId="{6BB6E18F-3B9B-8548-9F7D-995509DC18F4}" type="presParOf" srcId="{07B5C083-3E10-2D4D-8A62-29B4D80B9534}" destId="{B6A3D984-4DF5-9F41-8C56-192F8B1CFCB9}" srcOrd="1" destOrd="0" presId="urn:microsoft.com/office/officeart/2005/8/layout/hProcess4"/>
    <dgm:cxn modelId="{05EEC146-8BA4-054C-BD7A-A03484B91778}" type="presParOf" srcId="{07B5C083-3E10-2D4D-8A62-29B4D80B9534}" destId="{35B03601-EB78-A74E-B274-806F2E1885F6}" srcOrd="2" destOrd="0" presId="urn:microsoft.com/office/officeart/2005/8/layout/hProcess4"/>
    <dgm:cxn modelId="{2C8A494E-5889-CA40-8A8D-8B135AC9E109}" type="presParOf" srcId="{07B5C083-3E10-2D4D-8A62-29B4D80B9534}" destId="{B6A88857-296A-C14D-80F8-7E92C9049EAD}" srcOrd="3" destOrd="0" presId="urn:microsoft.com/office/officeart/2005/8/layout/hProcess4"/>
    <dgm:cxn modelId="{C907AA2B-239D-4C48-ABCE-73BCE4F6FA3F}" type="presParOf" srcId="{07B5C083-3E10-2D4D-8A62-29B4D80B9534}" destId="{AF046B53-A489-2C4A-9E9C-B3930B570FDD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1BD690D-3F75-334E-A676-DAD59BA5F296}" type="doc">
      <dgm:prSet loTypeId="urn:microsoft.com/office/officeart/2005/8/layout/hierarchy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E0C51D7C-0F16-3447-8970-9854F7588E09}">
      <dgm:prSet phldrT="[文本]" custT="1"/>
      <dgm:spPr/>
      <dgm:t>
        <a:bodyPr/>
        <a:lstStyle/>
        <a:p>
          <a:r>
            <a:rPr lang="zh-CN" altLang="en-US" sz="1200" b="1" dirty="0">
              <a:latin typeface="微软雅黑"/>
              <a:ea typeface="微软雅黑"/>
              <a:cs typeface="微软雅黑"/>
            </a:rPr>
            <a:t>效率</a:t>
          </a:r>
        </a:p>
      </dgm:t>
    </dgm:pt>
    <dgm:pt modelId="{4B94D47A-5D41-5649-9EFB-3DE7E6374858}" type="parTrans" cxnId="{E1AD2CAD-C3B4-3B46-9BE4-917A7B3EABBD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7570DA1C-FC1B-BD40-A2B4-FEFBF1A93912}" type="sibTrans" cxnId="{E1AD2CAD-C3B4-3B46-9BE4-917A7B3EABBD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B1DD9984-2F0B-1341-B77A-2A1E16A60393}">
      <dgm:prSet phldrT="[文本]"/>
      <dgm:spPr/>
      <dgm:t>
        <a:bodyPr/>
        <a:lstStyle/>
        <a:p>
          <a:r>
            <a:rPr lang="zh-CN" altLang="en-US" dirty="0">
              <a:latin typeface="微软雅黑"/>
              <a:ea typeface="微软雅黑"/>
              <a:cs typeface="微软雅黑"/>
            </a:rPr>
            <a:t>开发周期</a:t>
          </a:r>
        </a:p>
      </dgm:t>
    </dgm:pt>
    <dgm:pt modelId="{46EE73C0-342B-7A45-9470-1CD269129839}" type="parTrans" cxnId="{78A02E91-DD94-0A46-A771-F0E33239DA71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D7B8BAD9-5AB5-0F42-B0BA-8840CACC0416}" type="sibTrans" cxnId="{78A02E91-DD94-0A46-A771-F0E33239DA71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ADEAA086-42C3-A040-87E8-96B72BD82A93}">
      <dgm:prSet phldrT="[文本]"/>
      <dgm:spPr/>
      <dgm:t>
        <a:bodyPr/>
        <a:lstStyle/>
        <a:p>
          <a:r>
            <a:rPr lang="zh-CN" altLang="en-US" dirty="0">
              <a:latin typeface="微软雅黑"/>
              <a:ea typeface="微软雅黑"/>
              <a:cs typeface="微软雅黑"/>
            </a:rPr>
            <a:t>测试周期</a:t>
          </a:r>
        </a:p>
      </dgm:t>
    </dgm:pt>
    <dgm:pt modelId="{E9B4A1F0-C03A-274E-9506-B8F41E1F4DC7}" type="parTrans" cxnId="{1328FFF3-0369-194D-8D96-E0FA4562CE4B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95498993-1FEE-934E-A4D5-1EC9DEC9493F}" type="sibTrans" cxnId="{1328FFF3-0369-194D-8D96-E0FA4562CE4B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A13D2EDF-4C3B-2545-AD61-8865CFCF4942}">
      <dgm:prSet phldrT="[文本]"/>
      <dgm:spPr/>
      <dgm:t>
        <a:bodyPr/>
        <a:lstStyle/>
        <a:p>
          <a:r>
            <a:rPr lang="zh-CN" altLang="en-US" dirty="0">
              <a:latin typeface="微软雅黑"/>
              <a:ea typeface="微软雅黑"/>
              <a:cs typeface="微软雅黑"/>
            </a:rPr>
            <a:t>上线耗时</a:t>
          </a:r>
        </a:p>
      </dgm:t>
    </dgm:pt>
    <dgm:pt modelId="{B564DDAB-7736-2442-B218-D300BDAECEC4}" type="parTrans" cxnId="{E0D09520-5A55-BF45-AA9D-3F3E621ED216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FC39EF11-8A7E-2841-AC49-0E26EF03F734}" type="sibTrans" cxnId="{E0D09520-5A55-BF45-AA9D-3F3E621ED216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7E25F2F6-6E27-534E-AB4F-C15799510682}">
      <dgm:prSet phldrT="[文本]"/>
      <dgm:spPr/>
      <dgm:t>
        <a:bodyPr/>
        <a:lstStyle/>
        <a:p>
          <a:r>
            <a:rPr lang="zh-CN" altLang="en-US" dirty="0">
              <a:latin typeface="微软雅黑"/>
              <a:ea typeface="微软雅黑"/>
              <a:cs typeface="微软雅黑"/>
            </a:rPr>
            <a:t>交付价值</a:t>
          </a:r>
        </a:p>
      </dgm:t>
    </dgm:pt>
    <dgm:pt modelId="{FC793FEE-31EB-5C4A-B306-5F76CB08C231}" type="parTrans" cxnId="{6FC8446E-237D-F84A-B0EC-D2F812D117C3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65DE22FE-D92B-B24C-94B6-4005C58965E8}" type="sibTrans" cxnId="{6FC8446E-237D-F84A-B0EC-D2F812D117C3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47E70ABD-84A5-754B-8639-520C7C816EEF}">
      <dgm:prSet phldrT="[文本]"/>
      <dgm:spPr/>
      <dgm:t>
        <a:bodyPr/>
        <a:lstStyle/>
        <a:p>
          <a:r>
            <a:rPr lang="zh-CN" altLang="en-US" dirty="0">
              <a:latin typeface="微软雅黑"/>
              <a:ea typeface="微软雅黑"/>
              <a:cs typeface="微软雅黑"/>
            </a:rPr>
            <a:t>吞吐量</a:t>
          </a:r>
        </a:p>
      </dgm:t>
    </dgm:pt>
    <dgm:pt modelId="{5FEDB227-90E6-1B49-ABD8-C6E31A09ED25}" type="parTrans" cxnId="{5E8FB28B-964A-C741-B464-8B1A0D6ED419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20A9D7C8-BF57-E849-A2CA-F3F60509F52F}" type="sibTrans" cxnId="{5E8FB28B-964A-C741-B464-8B1A0D6ED419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4D6E69BF-F7D9-2F49-AF29-AF8E62FA0BD7}">
      <dgm:prSet phldrT="[文本]"/>
      <dgm:spPr/>
      <dgm:t>
        <a:bodyPr/>
        <a:lstStyle/>
        <a:p>
          <a:r>
            <a:rPr lang="zh-CN" altLang="en-US" dirty="0">
              <a:latin typeface="微软雅黑"/>
              <a:ea typeface="微软雅黑"/>
              <a:cs typeface="微软雅黑"/>
            </a:rPr>
            <a:t>交付周期</a:t>
          </a:r>
        </a:p>
      </dgm:t>
    </dgm:pt>
    <dgm:pt modelId="{956F4404-0947-C544-82D0-516BFE4300AC}" type="parTrans" cxnId="{393708DF-D75D-5744-BA8D-6B92BD28CFA8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C7A0B9E6-58B4-1B44-BE86-3E5D6D248086}" type="sibTrans" cxnId="{393708DF-D75D-5744-BA8D-6B92BD28CFA8}">
      <dgm:prSet/>
      <dgm:spPr/>
      <dgm:t>
        <a:bodyPr/>
        <a:lstStyle/>
        <a:p>
          <a:endParaRPr lang="zh-CN" altLang="en-US">
            <a:latin typeface="微软雅黑"/>
            <a:ea typeface="微软雅黑"/>
            <a:cs typeface="微软雅黑"/>
          </a:endParaRPr>
        </a:p>
      </dgm:t>
    </dgm:pt>
    <dgm:pt modelId="{49FB9B41-ACA1-5B4B-BD64-068497AD0D2E}" type="pres">
      <dgm:prSet presAssocID="{91BD690D-3F75-334E-A676-DAD59BA5F296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CAA4F4E-EFB7-5A48-A47E-45F55E7D2B2B}" type="pres">
      <dgm:prSet presAssocID="{E0C51D7C-0F16-3447-8970-9854F7588E09}" presName="hierRoot1" presStyleCnt="0"/>
      <dgm:spPr/>
    </dgm:pt>
    <dgm:pt modelId="{F56184EE-AF5A-894D-9EE9-9956C35EE2EF}" type="pres">
      <dgm:prSet presAssocID="{E0C51D7C-0F16-3447-8970-9854F7588E09}" presName="composite" presStyleCnt="0"/>
      <dgm:spPr/>
    </dgm:pt>
    <dgm:pt modelId="{2DBE4AAB-442C-F443-B029-F734B9F11CD7}" type="pres">
      <dgm:prSet presAssocID="{E0C51D7C-0F16-3447-8970-9854F7588E09}" presName="background" presStyleLbl="node0" presStyleIdx="0" presStyleCnt="1"/>
      <dgm:spPr/>
    </dgm:pt>
    <dgm:pt modelId="{98AF8C43-4353-E642-9278-53068189CC06}" type="pres">
      <dgm:prSet presAssocID="{E0C51D7C-0F16-3447-8970-9854F7588E09}" presName="text" presStyleLbl="fgAcc0" presStyleIdx="0" presStyleCnt="1">
        <dgm:presLayoutVars>
          <dgm:chPref val="3"/>
        </dgm:presLayoutVars>
      </dgm:prSet>
      <dgm:spPr/>
    </dgm:pt>
    <dgm:pt modelId="{2B710F18-F1FF-BF42-9BD5-E69D4E0C09A0}" type="pres">
      <dgm:prSet presAssocID="{E0C51D7C-0F16-3447-8970-9854F7588E09}" presName="hierChild2" presStyleCnt="0"/>
      <dgm:spPr/>
    </dgm:pt>
    <dgm:pt modelId="{DCF44862-CDB8-434B-94BF-84DE2D2FF29E}" type="pres">
      <dgm:prSet presAssocID="{FC793FEE-31EB-5C4A-B306-5F76CB08C231}" presName="Name10" presStyleLbl="parChTrans1D2" presStyleIdx="0" presStyleCnt="2"/>
      <dgm:spPr/>
    </dgm:pt>
    <dgm:pt modelId="{8AFF5E98-AB85-FA45-81D1-0B3EDEE8C7CB}" type="pres">
      <dgm:prSet presAssocID="{7E25F2F6-6E27-534E-AB4F-C15799510682}" presName="hierRoot2" presStyleCnt="0"/>
      <dgm:spPr/>
    </dgm:pt>
    <dgm:pt modelId="{A792F8D7-20FA-4F45-B232-B6D3CC8BD9D1}" type="pres">
      <dgm:prSet presAssocID="{7E25F2F6-6E27-534E-AB4F-C15799510682}" presName="composite2" presStyleCnt="0"/>
      <dgm:spPr/>
    </dgm:pt>
    <dgm:pt modelId="{B4F0B7CA-00DB-8D47-9C54-2A9F7727CD6D}" type="pres">
      <dgm:prSet presAssocID="{7E25F2F6-6E27-534E-AB4F-C15799510682}" presName="background2" presStyleLbl="node2" presStyleIdx="0" presStyleCnt="2"/>
      <dgm:spPr/>
    </dgm:pt>
    <dgm:pt modelId="{E8BF90C9-616A-984B-9B5D-FE8E3AD2C5B5}" type="pres">
      <dgm:prSet presAssocID="{7E25F2F6-6E27-534E-AB4F-C15799510682}" presName="text2" presStyleLbl="fgAcc2" presStyleIdx="0" presStyleCnt="2">
        <dgm:presLayoutVars>
          <dgm:chPref val="3"/>
        </dgm:presLayoutVars>
      </dgm:prSet>
      <dgm:spPr/>
    </dgm:pt>
    <dgm:pt modelId="{6E33FDB8-9A1E-F34B-8884-FBCE39690F59}" type="pres">
      <dgm:prSet presAssocID="{7E25F2F6-6E27-534E-AB4F-C15799510682}" presName="hierChild3" presStyleCnt="0"/>
      <dgm:spPr/>
    </dgm:pt>
    <dgm:pt modelId="{B5CE0C39-91B8-0D44-A5C9-3C6751CFAE0F}" type="pres">
      <dgm:prSet presAssocID="{5FEDB227-90E6-1B49-ABD8-C6E31A09ED25}" presName="Name17" presStyleLbl="parChTrans1D3" presStyleIdx="0" presStyleCnt="4"/>
      <dgm:spPr/>
    </dgm:pt>
    <dgm:pt modelId="{C8EFBFC7-01B2-6D41-A439-054D2E719127}" type="pres">
      <dgm:prSet presAssocID="{47E70ABD-84A5-754B-8639-520C7C816EEF}" presName="hierRoot3" presStyleCnt="0"/>
      <dgm:spPr/>
    </dgm:pt>
    <dgm:pt modelId="{7251F3EF-6DD8-2245-8417-A99F0C6C9326}" type="pres">
      <dgm:prSet presAssocID="{47E70ABD-84A5-754B-8639-520C7C816EEF}" presName="composite3" presStyleCnt="0"/>
      <dgm:spPr/>
    </dgm:pt>
    <dgm:pt modelId="{EE63F529-437D-5640-974F-1141520A642E}" type="pres">
      <dgm:prSet presAssocID="{47E70ABD-84A5-754B-8639-520C7C816EEF}" presName="background3" presStyleLbl="node3" presStyleIdx="0" presStyleCnt="4"/>
      <dgm:spPr/>
    </dgm:pt>
    <dgm:pt modelId="{B54D6AA0-9C4D-5F46-B746-5724A985FAAF}" type="pres">
      <dgm:prSet presAssocID="{47E70ABD-84A5-754B-8639-520C7C816EEF}" presName="text3" presStyleLbl="fgAcc3" presStyleIdx="0" presStyleCnt="4">
        <dgm:presLayoutVars>
          <dgm:chPref val="3"/>
        </dgm:presLayoutVars>
      </dgm:prSet>
      <dgm:spPr/>
    </dgm:pt>
    <dgm:pt modelId="{6D5249AE-B640-6141-9248-DE555A292C47}" type="pres">
      <dgm:prSet presAssocID="{47E70ABD-84A5-754B-8639-520C7C816EEF}" presName="hierChild4" presStyleCnt="0"/>
      <dgm:spPr/>
    </dgm:pt>
    <dgm:pt modelId="{A10B1F75-E4C8-A842-BD8D-0EB27856A80A}" type="pres">
      <dgm:prSet presAssocID="{956F4404-0947-C544-82D0-516BFE4300AC}" presName="Name10" presStyleLbl="parChTrans1D2" presStyleIdx="1" presStyleCnt="2"/>
      <dgm:spPr/>
    </dgm:pt>
    <dgm:pt modelId="{65865518-CD34-B240-850D-2CB005F65BE7}" type="pres">
      <dgm:prSet presAssocID="{4D6E69BF-F7D9-2F49-AF29-AF8E62FA0BD7}" presName="hierRoot2" presStyleCnt="0"/>
      <dgm:spPr/>
    </dgm:pt>
    <dgm:pt modelId="{36615DC8-62A0-534D-9CEB-9CA4089FBB0A}" type="pres">
      <dgm:prSet presAssocID="{4D6E69BF-F7D9-2F49-AF29-AF8E62FA0BD7}" presName="composite2" presStyleCnt="0"/>
      <dgm:spPr/>
    </dgm:pt>
    <dgm:pt modelId="{E8CC76CF-17D7-7F41-805F-E3C481F57F7D}" type="pres">
      <dgm:prSet presAssocID="{4D6E69BF-F7D9-2F49-AF29-AF8E62FA0BD7}" presName="background2" presStyleLbl="node2" presStyleIdx="1" presStyleCnt="2"/>
      <dgm:spPr/>
    </dgm:pt>
    <dgm:pt modelId="{BD52FEBF-DBB1-C845-9A64-E98C04DBB1F9}" type="pres">
      <dgm:prSet presAssocID="{4D6E69BF-F7D9-2F49-AF29-AF8E62FA0BD7}" presName="text2" presStyleLbl="fgAcc2" presStyleIdx="1" presStyleCnt="2">
        <dgm:presLayoutVars>
          <dgm:chPref val="3"/>
        </dgm:presLayoutVars>
      </dgm:prSet>
      <dgm:spPr/>
    </dgm:pt>
    <dgm:pt modelId="{167CE8C1-2B64-854D-BB78-8FD85F566361}" type="pres">
      <dgm:prSet presAssocID="{4D6E69BF-F7D9-2F49-AF29-AF8E62FA0BD7}" presName="hierChild3" presStyleCnt="0"/>
      <dgm:spPr/>
    </dgm:pt>
    <dgm:pt modelId="{2C43BDDD-7E39-404B-A13D-E05E93A1F9A4}" type="pres">
      <dgm:prSet presAssocID="{46EE73C0-342B-7A45-9470-1CD269129839}" presName="Name17" presStyleLbl="parChTrans1D3" presStyleIdx="1" presStyleCnt="4"/>
      <dgm:spPr/>
    </dgm:pt>
    <dgm:pt modelId="{533B6224-C4B2-FE42-A038-447FBCCA77B8}" type="pres">
      <dgm:prSet presAssocID="{B1DD9984-2F0B-1341-B77A-2A1E16A60393}" presName="hierRoot3" presStyleCnt="0"/>
      <dgm:spPr/>
    </dgm:pt>
    <dgm:pt modelId="{5E37D372-A469-D24A-90BC-4EA2C845CAB6}" type="pres">
      <dgm:prSet presAssocID="{B1DD9984-2F0B-1341-B77A-2A1E16A60393}" presName="composite3" presStyleCnt="0"/>
      <dgm:spPr/>
    </dgm:pt>
    <dgm:pt modelId="{18D97882-83DC-704F-9DAB-3A73950D71D5}" type="pres">
      <dgm:prSet presAssocID="{B1DD9984-2F0B-1341-B77A-2A1E16A60393}" presName="background3" presStyleLbl="node3" presStyleIdx="1" presStyleCnt="4"/>
      <dgm:spPr/>
    </dgm:pt>
    <dgm:pt modelId="{3CDB61A6-9060-3947-963D-509E4E6D7BEC}" type="pres">
      <dgm:prSet presAssocID="{B1DD9984-2F0B-1341-B77A-2A1E16A60393}" presName="text3" presStyleLbl="fgAcc3" presStyleIdx="1" presStyleCnt="4">
        <dgm:presLayoutVars>
          <dgm:chPref val="3"/>
        </dgm:presLayoutVars>
      </dgm:prSet>
      <dgm:spPr/>
    </dgm:pt>
    <dgm:pt modelId="{E4F601E9-A390-8246-A72C-2050899C54CB}" type="pres">
      <dgm:prSet presAssocID="{B1DD9984-2F0B-1341-B77A-2A1E16A60393}" presName="hierChild4" presStyleCnt="0"/>
      <dgm:spPr/>
    </dgm:pt>
    <dgm:pt modelId="{DB053EB2-8589-0F48-A577-B11FE706FB6F}" type="pres">
      <dgm:prSet presAssocID="{E9B4A1F0-C03A-274E-9506-B8F41E1F4DC7}" presName="Name17" presStyleLbl="parChTrans1D3" presStyleIdx="2" presStyleCnt="4"/>
      <dgm:spPr/>
    </dgm:pt>
    <dgm:pt modelId="{F858D8FA-5A2C-5749-A6BC-36C6A6CA710A}" type="pres">
      <dgm:prSet presAssocID="{ADEAA086-42C3-A040-87E8-96B72BD82A93}" presName="hierRoot3" presStyleCnt="0"/>
      <dgm:spPr/>
    </dgm:pt>
    <dgm:pt modelId="{2E346983-77FB-F345-A787-8B1F5CEDDB73}" type="pres">
      <dgm:prSet presAssocID="{ADEAA086-42C3-A040-87E8-96B72BD82A93}" presName="composite3" presStyleCnt="0"/>
      <dgm:spPr/>
    </dgm:pt>
    <dgm:pt modelId="{BB18E513-C122-734C-BF09-1F5DF3F1786D}" type="pres">
      <dgm:prSet presAssocID="{ADEAA086-42C3-A040-87E8-96B72BD82A93}" presName="background3" presStyleLbl="node3" presStyleIdx="2" presStyleCnt="4"/>
      <dgm:spPr/>
    </dgm:pt>
    <dgm:pt modelId="{4C2C4383-170C-6E4B-A459-7B8B9BCBBAEA}" type="pres">
      <dgm:prSet presAssocID="{ADEAA086-42C3-A040-87E8-96B72BD82A93}" presName="text3" presStyleLbl="fgAcc3" presStyleIdx="2" presStyleCnt="4">
        <dgm:presLayoutVars>
          <dgm:chPref val="3"/>
        </dgm:presLayoutVars>
      </dgm:prSet>
      <dgm:spPr/>
    </dgm:pt>
    <dgm:pt modelId="{0D514701-4A68-9740-84ED-232DA21BE36B}" type="pres">
      <dgm:prSet presAssocID="{ADEAA086-42C3-A040-87E8-96B72BD82A93}" presName="hierChild4" presStyleCnt="0"/>
      <dgm:spPr/>
    </dgm:pt>
    <dgm:pt modelId="{A79CF4B4-C1F5-2E47-B3BD-DE5EC2D278E1}" type="pres">
      <dgm:prSet presAssocID="{B564DDAB-7736-2442-B218-D300BDAECEC4}" presName="Name17" presStyleLbl="parChTrans1D3" presStyleIdx="3" presStyleCnt="4"/>
      <dgm:spPr/>
    </dgm:pt>
    <dgm:pt modelId="{A88AA957-FD24-424E-8104-3CD509610583}" type="pres">
      <dgm:prSet presAssocID="{A13D2EDF-4C3B-2545-AD61-8865CFCF4942}" presName="hierRoot3" presStyleCnt="0"/>
      <dgm:spPr/>
    </dgm:pt>
    <dgm:pt modelId="{A1BD8EDD-06CB-9044-9A31-AC3E88F64CB0}" type="pres">
      <dgm:prSet presAssocID="{A13D2EDF-4C3B-2545-AD61-8865CFCF4942}" presName="composite3" presStyleCnt="0"/>
      <dgm:spPr/>
    </dgm:pt>
    <dgm:pt modelId="{C19D9DF5-0508-3948-A647-A4F999C31170}" type="pres">
      <dgm:prSet presAssocID="{A13D2EDF-4C3B-2545-AD61-8865CFCF4942}" presName="background3" presStyleLbl="node3" presStyleIdx="3" presStyleCnt="4"/>
      <dgm:spPr/>
    </dgm:pt>
    <dgm:pt modelId="{013568D0-C5BC-504C-A38D-D4FDC7FAE504}" type="pres">
      <dgm:prSet presAssocID="{A13D2EDF-4C3B-2545-AD61-8865CFCF4942}" presName="text3" presStyleLbl="fgAcc3" presStyleIdx="3" presStyleCnt="4">
        <dgm:presLayoutVars>
          <dgm:chPref val="3"/>
        </dgm:presLayoutVars>
      </dgm:prSet>
      <dgm:spPr/>
    </dgm:pt>
    <dgm:pt modelId="{F2ECC206-D2AA-F54C-90A4-898CBE22CD52}" type="pres">
      <dgm:prSet presAssocID="{A13D2EDF-4C3B-2545-AD61-8865CFCF4942}" presName="hierChild4" presStyleCnt="0"/>
      <dgm:spPr/>
    </dgm:pt>
  </dgm:ptLst>
  <dgm:cxnLst>
    <dgm:cxn modelId="{2969500A-CF8B-1544-94C2-D1AFE80AF273}" type="presOf" srcId="{ADEAA086-42C3-A040-87E8-96B72BD82A93}" destId="{4C2C4383-170C-6E4B-A459-7B8B9BCBBAEA}" srcOrd="0" destOrd="0" presId="urn:microsoft.com/office/officeart/2005/8/layout/hierarchy1"/>
    <dgm:cxn modelId="{E0D09520-5A55-BF45-AA9D-3F3E621ED216}" srcId="{4D6E69BF-F7D9-2F49-AF29-AF8E62FA0BD7}" destId="{A13D2EDF-4C3B-2545-AD61-8865CFCF4942}" srcOrd="2" destOrd="0" parTransId="{B564DDAB-7736-2442-B218-D300BDAECEC4}" sibTransId="{FC39EF11-8A7E-2841-AC49-0E26EF03F734}"/>
    <dgm:cxn modelId="{2D223D24-967E-D648-962C-7C2E6E23DD9D}" type="presOf" srcId="{46EE73C0-342B-7A45-9470-1CD269129839}" destId="{2C43BDDD-7E39-404B-A13D-E05E93A1F9A4}" srcOrd="0" destOrd="0" presId="urn:microsoft.com/office/officeart/2005/8/layout/hierarchy1"/>
    <dgm:cxn modelId="{6FC8446E-237D-F84A-B0EC-D2F812D117C3}" srcId="{E0C51D7C-0F16-3447-8970-9854F7588E09}" destId="{7E25F2F6-6E27-534E-AB4F-C15799510682}" srcOrd="0" destOrd="0" parTransId="{FC793FEE-31EB-5C4A-B306-5F76CB08C231}" sibTransId="{65DE22FE-D92B-B24C-94B6-4005C58965E8}"/>
    <dgm:cxn modelId="{D46E637B-DAD8-1044-9C6F-7487C1C3324E}" type="presOf" srcId="{B1DD9984-2F0B-1341-B77A-2A1E16A60393}" destId="{3CDB61A6-9060-3947-963D-509E4E6D7BEC}" srcOrd="0" destOrd="0" presId="urn:microsoft.com/office/officeart/2005/8/layout/hierarchy1"/>
    <dgm:cxn modelId="{D7BE6385-2CDC-534E-A3E6-D2EBC604A301}" type="presOf" srcId="{FC793FEE-31EB-5C4A-B306-5F76CB08C231}" destId="{DCF44862-CDB8-434B-94BF-84DE2D2FF29E}" srcOrd="0" destOrd="0" presId="urn:microsoft.com/office/officeart/2005/8/layout/hierarchy1"/>
    <dgm:cxn modelId="{5E8FB28B-964A-C741-B464-8B1A0D6ED419}" srcId="{7E25F2F6-6E27-534E-AB4F-C15799510682}" destId="{47E70ABD-84A5-754B-8639-520C7C816EEF}" srcOrd="0" destOrd="0" parTransId="{5FEDB227-90E6-1B49-ABD8-C6E31A09ED25}" sibTransId="{20A9D7C8-BF57-E849-A2CA-F3F60509F52F}"/>
    <dgm:cxn modelId="{78A02E91-DD94-0A46-A771-F0E33239DA71}" srcId="{4D6E69BF-F7D9-2F49-AF29-AF8E62FA0BD7}" destId="{B1DD9984-2F0B-1341-B77A-2A1E16A60393}" srcOrd="0" destOrd="0" parTransId="{46EE73C0-342B-7A45-9470-1CD269129839}" sibTransId="{D7B8BAD9-5AB5-0F42-B0BA-8840CACC0416}"/>
    <dgm:cxn modelId="{6E374DA1-CE62-444E-BDB8-6781DAE11F95}" type="presOf" srcId="{956F4404-0947-C544-82D0-516BFE4300AC}" destId="{A10B1F75-E4C8-A842-BD8D-0EB27856A80A}" srcOrd="0" destOrd="0" presId="urn:microsoft.com/office/officeart/2005/8/layout/hierarchy1"/>
    <dgm:cxn modelId="{3B79F2A7-86F8-5946-876A-938BFB25CE58}" type="presOf" srcId="{A13D2EDF-4C3B-2545-AD61-8865CFCF4942}" destId="{013568D0-C5BC-504C-A38D-D4FDC7FAE504}" srcOrd="0" destOrd="0" presId="urn:microsoft.com/office/officeart/2005/8/layout/hierarchy1"/>
    <dgm:cxn modelId="{E1AD2CAD-C3B4-3B46-9BE4-917A7B3EABBD}" srcId="{91BD690D-3F75-334E-A676-DAD59BA5F296}" destId="{E0C51D7C-0F16-3447-8970-9854F7588E09}" srcOrd="0" destOrd="0" parTransId="{4B94D47A-5D41-5649-9EFB-3DE7E6374858}" sibTransId="{7570DA1C-FC1B-BD40-A2B4-FEFBF1A93912}"/>
    <dgm:cxn modelId="{0447E8B5-77DB-AC4F-A10C-FABCBE5E2A6C}" type="presOf" srcId="{7E25F2F6-6E27-534E-AB4F-C15799510682}" destId="{E8BF90C9-616A-984B-9B5D-FE8E3AD2C5B5}" srcOrd="0" destOrd="0" presId="urn:microsoft.com/office/officeart/2005/8/layout/hierarchy1"/>
    <dgm:cxn modelId="{73D6F6BC-8415-6A42-93E5-501E18F3C434}" type="presOf" srcId="{B564DDAB-7736-2442-B218-D300BDAECEC4}" destId="{A79CF4B4-C1F5-2E47-B3BD-DE5EC2D278E1}" srcOrd="0" destOrd="0" presId="urn:microsoft.com/office/officeart/2005/8/layout/hierarchy1"/>
    <dgm:cxn modelId="{959683C0-238D-314B-836F-E917DFA8AC6C}" type="presOf" srcId="{47E70ABD-84A5-754B-8639-520C7C816EEF}" destId="{B54D6AA0-9C4D-5F46-B746-5724A985FAAF}" srcOrd="0" destOrd="0" presId="urn:microsoft.com/office/officeart/2005/8/layout/hierarchy1"/>
    <dgm:cxn modelId="{17F5EBDB-7EEF-F648-80FA-2B9B6F1F101B}" type="presOf" srcId="{E0C51D7C-0F16-3447-8970-9854F7588E09}" destId="{98AF8C43-4353-E642-9278-53068189CC06}" srcOrd="0" destOrd="0" presId="urn:microsoft.com/office/officeart/2005/8/layout/hierarchy1"/>
    <dgm:cxn modelId="{393708DF-D75D-5744-BA8D-6B92BD28CFA8}" srcId="{E0C51D7C-0F16-3447-8970-9854F7588E09}" destId="{4D6E69BF-F7D9-2F49-AF29-AF8E62FA0BD7}" srcOrd="1" destOrd="0" parTransId="{956F4404-0947-C544-82D0-516BFE4300AC}" sibTransId="{C7A0B9E6-58B4-1B44-BE86-3E5D6D248086}"/>
    <dgm:cxn modelId="{D39BBFDF-CA38-084F-ABC1-385905226A59}" type="presOf" srcId="{91BD690D-3F75-334E-A676-DAD59BA5F296}" destId="{49FB9B41-ACA1-5B4B-BD64-068497AD0D2E}" srcOrd="0" destOrd="0" presId="urn:microsoft.com/office/officeart/2005/8/layout/hierarchy1"/>
    <dgm:cxn modelId="{BF4234E9-248A-8B4B-840D-B11D713BE923}" type="presOf" srcId="{5FEDB227-90E6-1B49-ABD8-C6E31A09ED25}" destId="{B5CE0C39-91B8-0D44-A5C9-3C6751CFAE0F}" srcOrd="0" destOrd="0" presId="urn:microsoft.com/office/officeart/2005/8/layout/hierarchy1"/>
    <dgm:cxn modelId="{04D118F0-2B46-6048-8698-B1DE22698186}" type="presOf" srcId="{E9B4A1F0-C03A-274E-9506-B8F41E1F4DC7}" destId="{DB053EB2-8589-0F48-A577-B11FE706FB6F}" srcOrd="0" destOrd="0" presId="urn:microsoft.com/office/officeart/2005/8/layout/hierarchy1"/>
    <dgm:cxn modelId="{1328FFF3-0369-194D-8D96-E0FA4562CE4B}" srcId="{4D6E69BF-F7D9-2F49-AF29-AF8E62FA0BD7}" destId="{ADEAA086-42C3-A040-87E8-96B72BD82A93}" srcOrd="1" destOrd="0" parTransId="{E9B4A1F0-C03A-274E-9506-B8F41E1F4DC7}" sibTransId="{95498993-1FEE-934E-A4D5-1EC9DEC9493F}"/>
    <dgm:cxn modelId="{9EAB54F5-3678-4140-B8D0-41C34F36FB18}" type="presOf" srcId="{4D6E69BF-F7D9-2F49-AF29-AF8E62FA0BD7}" destId="{BD52FEBF-DBB1-C845-9A64-E98C04DBB1F9}" srcOrd="0" destOrd="0" presId="urn:microsoft.com/office/officeart/2005/8/layout/hierarchy1"/>
    <dgm:cxn modelId="{9EDCD312-80AA-964E-8950-38F774DFAC89}" type="presParOf" srcId="{49FB9B41-ACA1-5B4B-BD64-068497AD0D2E}" destId="{3CAA4F4E-EFB7-5A48-A47E-45F55E7D2B2B}" srcOrd="0" destOrd="0" presId="urn:microsoft.com/office/officeart/2005/8/layout/hierarchy1"/>
    <dgm:cxn modelId="{6669DA14-4A0D-304D-8A19-D9566ED668CF}" type="presParOf" srcId="{3CAA4F4E-EFB7-5A48-A47E-45F55E7D2B2B}" destId="{F56184EE-AF5A-894D-9EE9-9956C35EE2EF}" srcOrd="0" destOrd="0" presId="urn:microsoft.com/office/officeart/2005/8/layout/hierarchy1"/>
    <dgm:cxn modelId="{C3057E2F-9D8E-B146-8F67-D7BFE38BF8BF}" type="presParOf" srcId="{F56184EE-AF5A-894D-9EE9-9956C35EE2EF}" destId="{2DBE4AAB-442C-F443-B029-F734B9F11CD7}" srcOrd="0" destOrd="0" presId="urn:microsoft.com/office/officeart/2005/8/layout/hierarchy1"/>
    <dgm:cxn modelId="{FD1DA3A1-23A5-9341-B547-05775F6157FF}" type="presParOf" srcId="{F56184EE-AF5A-894D-9EE9-9956C35EE2EF}" destId="{98AF8C43-4353-E642-9278-53068189CC06}" srcOrd="1" destOrd="0" presId="urn:microsoft.com/office/officeart/2005/8/layout/hierarchy1"/>
    <dgm:cxn modelId="{FFF9B58E-DA66-6340-B7B5-FFDD6A4526F5}" type="presParOf" srcId="{3CAA4F4E-EFB7-5A48-A47E-45F55E7D2B2B}" destId="{2B710F18-F1FF-BF42-9BD5-E69D4E0C09A0}" srcOrd="1" destOrd="0" presId="urn:microsoft.com/office/officeart/2005/8/layout/hierarchy1"/>
    <dgm:cxn modelId="{26AD72A8-28FA-4540-B30F-C9734D987510}" type="presParOf" srcId="{2B710F18-F1FF-BF42-9BD5-E69D4E0C09A0}" destId="{DCF44862-CDB8-434B-94BF-84DE2D2FF29E}" srcOrd="0" destOrd="0" presId="urn:microsoft.com/office/officeart/2005/8/layout/hierarchy1"/>
    <dgm:cxn modelId="{EC7C4A96-F036-8746-9C0C-14C8DA659B72}" type="presParOf" srcId="{2B710F18-F1FF-BF42-9BD5-E69D4E0C09A0}" destId="{8AFF5E98-AB85-FA45-81D1-0B3EDEE8C7CB}" srcOrd="1" destOrd="0" presId="urn:microsoft.com/office/officeart/2005/8/layout/hierarchy1"/>
    <dgm:cxn modelId="{2552D849-B0FA-0244-AF4A-0287635A50A4}" type="presParOf" srcId="{8AFF5E98-AB85-FA45-81D1-0B3EDEE8C7CB}" destId="{A792F8D7-20FA-4F45-B232-B6D3CC8BD9D1}" srcOrd="0" destOrd="0" presId="urn:microsoft.com/office/officeart/2005/8/layout/hierarchy1"/>
    <dgm:cxn modelId="{3E7C3F9A-C168-B142-AD2D-9DB5C8E0AECD}" type="presParOf" srcId="{A792F8D7-20FA-4F45-B232-B6D3CC8BD9D1}" destId="{B4F0B7CA-00DB-8D47-9C54-2A9F7727CD6D}" srcOrd="0" destOrd="0" presId="urn:microsoft.com/office/officeart/2005/8/layout/hierarchy1"/>
    <dgm:cxn modelId="{BB81093C-7D75-3A44-A438-09AB2DFAC164}" type="presParOf" srcId="{A792F8D7-20FA-4F45-B232-B6D3CC8BD9D1}" destId="{E8BF90C9-616A-984B-9B5D-FE8E3AD2C5B5}" srcOrd="1" destOrd="0" presId="urn:microsoft.com/office/officeart/2005/8/layout/hierarchy1"/>
    <dgm:cxn modelId="{91775BD7-CD27-2E46-AF34-31DA749FF9CE}" type="presParOf" srcId="{8AFF5E98-AB85-FA45-81D1-0B3EDEE8C7CB}" destId="{6E33FDB8-9A1E-F34B-8884-FBCE39690F59}" srcOrd="1" destOrd="0" presId="urn:microsoft.com/office/officeart/2005/8/layout/hierarchy1"/>
    <dgm:cxn modelId="{106782EC-0F47-B942-88EB-87BD201DA0A9}" type="presParOf" srcId="{6E33FDB8-9A1E-F34B-8884-FBCE39690F59}" destId="{B5CE0C39-91B8-0D44-A5C9-3C6751CFAE0F}" srcOrd="0" destOrd="0" presId="urn:microsoft.com/office/officeart/2005/8/layout/hierarchy1"/>
    <dgm:cxn modelId="{B64D646D-760C-124F-BDA3-553951A3B256}" type="presParOf" srcId="{6E33FDB8-9A1E-F34B-8884-FBCE39690F59}" destId="{C8EFBFC7-01B2-6D41-A439-054D2E719127}" srcOrd="1" destOrd="0" presId="urn:microsoft.com/office/officeart/2005/8/layout/hierarchy1"/>
    <dgm:cxn modelId="{B27E1EFC-C43B-8944-B222-4918ACE2C961}" type="presParOf" srcId="{C8EFBFC7-01B2-6D41-A439-054D2E719127}" destId="{7251F3EF-6DD8-2245-8417-A99F0C6C9326}" srcOrd="0" destOrd="0" presId="urn:microsoft.com/office/officeart/2005/8/layout/hierarchy1"/>
    <dgm:cxn modelId="{C8547581-13B3-5645-A0FB-238892B6DB1A}" type="presParOf" srcId="{7251F3EF-6DD8-2245-8417-A99F0C6C9326}" destId="{EE63F529-437D-5640-974F-1141520A642E}" srcOrd="0" destOrd="0" presId="urn:microsoft.com/office/officeart/2005/8/layout/hierarchy1"/>
    <dgm:cxn modelId="{DF935390-6DD3-E642-B00C-36797594224F}" type="presParOf" srcId="{7251F3EF-6DD8-2245-8417-A99F0C6C9326}" destId="{B54D6AA0-9C4D-5F46-B746-5724A985FAAF}" srcOrd="1" destOrd="0" presId="urn:microsoft.com/office/officeart/2005/8/layout/hierarchy1"/>
    <dgm:cxn modelId="{3D308BE7-48B6-3E44-A285-F94687783DDF}" type="presParOf" srcId="{C8EFBFC7-01B2-6D41-A439-054D2E719127}" destId="{6D5249AE-B640-6141-9248-DE555A292C47}" srcOrd="1" destOrd="0" presId="urn:microsoft.com/office/officeart/2005/8/layout/hierarchy1"/>
    <dgm:cxn modelId="{1E059E3B-2174-0D45-BF75-E4BCAE5257D5}" type="presParOf" srcId="{2B710F18-F1FF-BF42-9BD5-E69D4E0C09A0}" destId="{A10B1F75-E4C8-A842-BD8D-0EB27856A80A}" srcOrd="2" destOrd="0" presId="urn:microsoft.com/office/officeart/2005/8/layout/hierarchy1"/>
    <dgm:cxn modelId="{14417AD2-5BE7-7B4C-B3BF-A7727645C8E1}" type="presParOf" srcId="{2B710F18-F1FF-BF42-9BD5-E69D4E0C09A0}" destId="{65865518-CD34-B240-850D-2CB005F65BE7}" srcOrd="3" destOrd="0" presId="urn:microsoft.com/office/officeart/2005/8/layout/hierarchy1"/>
    <dgm:cxn modelId="{B093804E-3D7D-DB4D-9583-D5EF26FFD041}" type="presParOf" srcId="{65865518-CD34-B240-850D-2CB005F65BE7}" destId="{36615DC8-62A0-534D-9CEB-9CA4089FBB0A}" srcOrd="0" destOrd="0" presId="urn:microsoft.com/office/officeart/2005/8/layout/hierarchy1"/>
    <dgm:cxn modelId="{B13B0705-399B-8345-B36A-E88AFFEEB28E}" type="presParOf" srcId="{36615DC8-62A0-534D-9CEB-9CA4089FBB0A}" destId="{E8CC76CF-17D7-7F41-805F-E3C481F57F7D}" srcOrd="0" destOrd="0" presId="urn:microsoft.com/office/officeart/2005/8/layout/hierarchy1"/>
    <dgm:cxn modelId="{F1F0C125-854B-1245-839B-D3336C20EF89}" type="presParOf" srcId="{36615DC8-62A0-534D-9CEB-9CA4089FBB0A}" destId="{BD52FEBF-DBB1-C845-9A64-E98C04DBB1F9}" srcOrd="1" destOrd="0" presId="urn:microsoft.com/office/officeart/2005/8/layout/hierarchy1"/>
    <dgm:cxn modelId="{971BD7BB-8708-8141-95A7-D1F73ABEA667}" type="presParOf" srcId="{65865518-CD34-B240-850D-2CB005F65BE7}" destId="{167CE8C1-2B64-854D-BB78-8FD85F566361}" srcOrd="1" destOrd="0" presId="urn:microsoft.com/office/officeart/2005/8/layout/hierarchy1"/>
    <dgm:cxn modelId="{A24C17B7-D55B-B442-B739-72723E9C476F}" type="presParOf" srcId="{167CE8C1-2B64-854D-BB78-8FD85F566361}" destId="{2C43BDDD-7E39-404B-A13D-E05E93A1F9A4}" srcOrd="0" destOrd="0" presId="urn:microsoft.com/office/officeart/2005/8/layout/hierarchy1"/>
    <dgm:cxn modelId="{18676E0D-28EA-714F-84E0-E9563E3780A9}" type="presParOf" srcId="{167CE8C1-2B64-854D-BB78-8FD85F566361}" destId="{533B6224-C4B2-FE42-A038-447FBCCA77B8}" srcOrd="1" destOrd="0" presId="urn:microsoft.com/office/officeart/2005/8/layout/hierarchy1"/>
    <dgm:cxn modelId="{A2AF1459-94FB-6442-A17D-C36C596F084B}" type="presParOf" srcId="{533B6224-C4B2-FE42-A038-447FBCCA77B8}" destId="{5E37D372-A469-D24A-90BC-4EA2C845CAB6}" srcOrd="0" destOrd="0" presId="urn:microsoft.com/office/officeart/2005/8/layout/hierarchy1"/>
    <dgm:cxn modelId="{71AF3934-DAA6-E44A-B3ED-146E6B41549B}" type="presParOf" srcId="{5E37D372-A469-D24A-90BC-4EA2C845CAB6}" destId="{18D97882-83DC-704F-9DAB-3A73950D71D5}" srcOrd="0" destOrd="0" presId="urn:microsoft.com/office/officeart/2005/8/layout/hierarchy1"/>
    <dgm:cxn modelId="{66E6B0AB-6184-B843-821A-2629706BCD0D}" type="presParOf" srcId="{5E37D372-A469-D24A-90BC-4EA2C845CAB6}" destId="{3CDB61A6-9060-3947-963D-509E4E6D7BEC}" srcOrd="1" destOrd="0" presId="urn:microsoft.com/office/officeart/2005/8/layout/hierarchy1"/>
    <dgm:cxn modelId="{290716A0-6720-0D42-ACEF-E877DB9DF118}" type="presParOf" srcId="{533B6224-C4B2-FE42-A038-447FBCCA77B8}" destId="{E4F601E9-A390-8246-A72C-2050899C54CB}" srcOrd="1" destOrd="0" presId="urn:microsoft.com/office/officeart/2005/8/layout/hierarchy1"/>
    <dgm:cxn modelId="{ED535A66-B08F-6241-8C27-1E71D7F74CEE}" type="presParOf" srcId="{167CE8C1-2B64-854D-BB78-8FD85F566361}" destId="{DB053EB2-8589-0F48-A577-B11FE706FB6F}" srcOrd="2" destOrd="0" presId="urn:microsoft.com/office/officeart/2005/8/layout/hierarchy1"/>
    <dgm:cxn modelId="{7164FB4B-53A6-454A-994E-EE22E390D069}" type="presParOf" srcId="{167CE8C1-2B64-854D-BB78-8FD85F566361}" destId="{F858D8FA-5A2C-5749-A6BC-36C6A6CA710A}" srcOrd="3" destOrd="0" presId="urn:microsoft.com/office/officeart/2005/8/layout/hierarchy1"/>
    <dgm:cxn modelId="{AA712D07-83D9-AA4F-95F1-C15945E0680C}" type="presParOf" srcId="{F858D8FA-5A2C-5749-A6BC-36C6A6CA710A}" destId="{2E346983-77FB-F345-A787-8B1F5CEDDB73}" srcOrd="0" destOrd="0" presId="urn:microsoft.com/office/officeart/2005/8/layout/hierarchy1"/>
    <dgm:cxn modelId="{0DB96343-B24C-714D-A4AD-E8F2B83C0848}" type="presParOf" srcId="{2E346983-77FB-F345-A787-8B1F5CEDDB73}" destId="{BB18E513-C122-734C-BF09-1F5DF3F1786D}" srcOrd="0" destOrd="0" presId="urn:microsoft.com/office/officeart/2005/8/layout/hierarchy1"/>
    <dgm:cxn modelId="{07597C64-50A2-E64F-B658-EDDF9714CF13}" type="presParOf" srcId="{2E346983-77FB-F345-A787-8B1F5CEDDB73}" destId="{4C2C4383-170C-6E4B-A459-7B8B9BCBBAEA}" srcOrd="1" destOrd="0" presId="urn:microsoft.com/office/officeart/2005/8/layout/hierarchy1"/>
    <dgm:cxn modelId="{632E6EDB-8FF6-5D41-A4F6-BE3EF1B7FFE4}" type="presParOf" srcId="{F858D8FA-5A2C-5749-A6BC-36C6A6CA710A}" destId="{0D514701-4A68-9740-84ED-232DA21BE36B}" srcOrd="1" destOrd="0" presId="urn:microsoft.com/office/officeart/2005/8/layout/hierarchy1"/>
    <dgm:cxn modelId="{5065B9D2-6EA0-3F49-9675-6F681EE67FE0}" type="presParOf" srcId="{167CE8C1-2B64-854D-BB78-8FD85F566361}" destId="{A79CF4B4-C1F5-2E47-B3BD-DE5EC2D278E1}" srcOrd="4" destOrd="0" presId="urn:microsoft.com/office/officeart/2005/8/layout/hierarchy1"/>
    <dgm:cxn modelId="{4A5A913F-A3D3-FA40-B49C-D5A5DD11529E}" type="presParOf" srcId="{167CE8C1-2B64-854D-BB78-8FD85F566361}" destId="{A88AA957-FD24-424E-8104-3CD509610583}" srcOrd="5" destOrd="0" presId="urn:microsoft.com/office/officeart/2005/8/layout/hierarchy1"/>
    <dgm:cxn modelId="{E06D7103-DFCF-D346-8AF2-F44767E23866}" type="presParOf" srcId="{A88AA957-FD24-424E-8104-3CD509610583}" destId="{A1BD8EDD-06CB-9044-9A31-AC3E88F64CB0}" srcOrd="0" destOrd="0" presId="urn:microsoft.com/office/officeart/2005/8/layout/hierarchy1"/>
    <dgm:cxn modelId="{93DFAD67-386D-1746-AE89-A60C4100B707}" type="presParOf" srcId="{A1BD8EDD-06CB-9044-9A31-AC3E88F64CB0}" destId="{C19D9DF5-0508-3948-A647-A4F999C31170}" srcOrd="0" destOrd="0" presId="urn:microsoft.com/office/officeart/2005/8/layout/hierarchy1"/>
    <dgm:cxn modelId="{C370F506-AA03-B84D-891D-0C5115C7BB30}" type="presParOf" srcId="{A1BD8EDD-06CB-9044-9A31-AC3E88F64CB0}" destId="{013568D0-C5BC-504C-A38D-D4FDC7FAE504}" srcOrd="1" destOrd="0" presId="urn:microsoft.com/office/officeart/2005/8/layout/hierarchy1"/>
    <dgm:cxn modelId="{DD1A7981-1019-EC4E-8789-131A6039CDF8}" type="presParOf" srcId="{A88AA957-FD24-424E-8104-3CD509610583}" destId="{F2ECC206-D2AA-F54C-90A4-898CBE22CD52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D690D-3F75-334E-A676-DAD59BA5F296}" type="doc">
      <dgm:prSet loTypeId="urn:microsoft.com/office/officeart/2005/8/layout/hierarchy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E0C51D7C-0F16-3447-8970-9854F7588E09}">
      <dgm:prSet phldrT="[文本]" custT="1"/>
      <dgm:spPr/>
      <dgm:t>
        <a:bodyPr/>
        <a:lstStyle/>
        <a:p>
          <a:r>
            <a:rPr lang="zh-CN" altLang="en-US" sz="1200" b="1" dirty="0">
              <a:latin typeface="微软雅黑"/>
              <a:ea typeface="微软雅黑"/>
              <a:cs typeface="微软雅黑"/>
            </a:rPr>
            <a:t>质量</a:t>
          </a:r>
        </a:p>
      </dgm:t>
    </dgm:pt>
    <dgm:pt modelId="{4B94D47A-5D41-5649-9EFB-3DE7E6374858}" type="parTrans" cxnId="{E1AD2CAD-C3B4-3B46-9BE4-917A7B3EABBD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7570DA1C-FC1B-BD40-A2B4-FEFBF1A93912}" type="sibTrans" cxnId="{E1AD2CAD-C3B4-3B46-9BE4-917A7B3EABBD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B1DD9984-2F0B-1341-B77A-2A1E16A60393}">
      <dgm:prSet phldrT="[文本]" custT="1"/>
      <dgm:spPr/>
      <dgm:t>
        <a:bodyPr/>
        <a:lstStyle/>
        <a:p>
          <a:r>
            <a:rPr lang="zh-CN" altLang="en-US" sz="800" dirty="0">
              <a:latin typeface="微软雅黑"/>
              <a:ea typeface="微软雅黑"/>
              <a:cs typeface="微软雅黑"/>
            </a:rPr>
            <a:t>千行 </a:t>
          </a:r>
          <a:r>
            <a:rPr lang="en-US" altLang="zh-CN" sz="800" dirty="0">
              <a:latin typeface="微软雅黑"/>
              <a:ea typeface="微软雅黑"/>
              <a:cs typeface="微软雅黑"/>
            </a:rPr>
            <a:t>bug</a:t>
          </a:r>
          <a:r>
            <a:rPr lang="zh-CN" altLang="en-US" sz="800" dirty="0">
              <a:latin typeface="微软雅黑"/>
              <a:ea typeface="微软雅黑"/>
              <a:cs typeface="微软雅黑"/>
            </a:rPr>
            <a:t> 率</a:t>
          </a:r>
        </a:p>
      </dgm:t>
    </dgm:pt>
    <dgm:pt modelId="{46EE73C0-342B-7A45-9470-1CD269129839}" type="parTrans" cxnId="{78A02E91-DD94-0A46-A771-F0E33239DA71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D7B8BAD9-5AB5-0F42-B0BA-8840CACC0416}" type="sibTrans" cxnId="{78A02E91-DD94-0A46-A771-F0E33239DA71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ADEAA086-42C3-A040-87E8-96B72BD82A93}">
      <dgm:prSet phldrT="[文本]" custT="1"/>
      <dgm:spPr/>
      <dgm:t>
        <a:bodyPr/>
        <a:lstStyle/>
        <a:p>
          <a:r>
            <a:rPr lang="en-US" altLang="zh-CN" sz="800" dirty="0">
              <a:latin typeface="微软雅黑"/>
              <a:ea typeface="微软雅黑"/>
              <a:cs typeface="微软雅黑"/>
            </a:rPr>
            <a:t>Reopen</a:t>
          </a:r>
          <a:r>
            <a:rPr lang="zh-CN" altLang="en-US" sz="800" dirty="0">
              <a:latin typeface="微软雅黑"/>
              <a:ea typeface="微软雅黑"/>
              <a:cs typeface="微软雅黑"/>
            </a:rPr>
            <a:t>率</a:t>
          </a:r>
        </a:p>
      </dgm:t>
    </dgm:pt>
    <dgm:pt modelId="{E9B4A1F0-C03A-274E-9506-B8F41E1F4DC7}" type="parTrans" cxnId="{1328FFF3-0369-194D-8D96-E0FA4562CE4B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95498993-1FEE-934E-A4D5-1EC9DEC9493F}" type="sibTrans" cxnId="{1328FFF3-0369-194D-8D96-E0FA4562CE4B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7E25F2F6-6E27-534E-AB4F-C15799510682}">
      <dgm:prSet phldrT="[文本]" custT="1"/>
      <dgm:spPr/>
      <dgm:t>
        <a:bodyPr/>
        <a:lstStyle/>
        <a:p>
          <a:r>
            <a:rPr lang="zh-CN" altLang="en-US" sz="800" dirty="0">
              <a:latin typeface="微软雅黑"/>
              <a:ea typeface="微软雅黑"/>
              <a:cs typeface="微软雅黑"/>
            </a:rPr>
            <a:t>线上</a:t>
          </a:r>
        </a:p>
      </dgm:t>
    </dgm:pt>
    <dgm:pt modelId="{FC793FEE-31EB-5C4A-B306-5F76CB08C231}" type="parTrans" cxnId="{6FC8446E-237D-F84A-B0EC-D2F812D117C3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65DE22FE-D92B-B24C-94B6-4005C58965E8}" type="sibTrans" cxnId="{6FC8446E-237D-F84A-B0EC-D2F812D117C3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47E70ABD-84A5-754B-8639-520C7C816EEF}">
      <dgm:prSet phldrT="[文本]" custT="1"/>
      <dgm:spPr/>
      <dgm:t>
        <a:bodyPr/>
        <a:lstStyle/>
        <a:p>
          <a:r>
            <a:rPr lang="en-US" altLang="zh-CN" sz="800" dirty="0">
              <a:latin typeface="微软雅黑"/>
              <a:ea typeface="微软雅黑"/>
              <a:cs typeface="微软雅黑"/>
            </a:rPr>
            <a:t>bug</a:t>
          </a:r>
          <a:r>
            <a:rPr lang="zh-CN" altLang="en-US" sz="800" dirty="0">
              <a:latin typeface="微软雅黑"/>
              <a:ea typeface="微软雅黑"/>
              <a:cs typeface="微软雅黑"/>
            </a:rPr>
            <a:t>数</a:t>
          </a:r>
        </a:p>
      </dgm:t>
    </dgm:pt>
    <dgm:pt modelId="{5FEDB227-90E6-1B49-ABD8-C6E31A09ED25}" type="parTrans" cxnId="{5E8FB28B-964A-C741-B464-8B1A0D6ED419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20A9D7C8-BF57-E849-A2CA-F3F60509F52F}" type="sibTrans" cxnId="{5E8FB28B-964A-C741-B464-8B1A0D6ED419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4D6E69BF-F7D9-2F49-AF29-AF8E62FA0BD7}">
      <dgm:prSet phldrT="[文本]" custT="1"/>
      <dgm:spPr/>
      <dgm:t>
        <a:bodyPr/>
        <a:lstStyle/>
        <a:p>
          <a:r>
            <a:rPr lang="zh-CN" altLang="en-US" sz="800" dirty="0">
              <a:latin typeface="微软雅黑"/>
              <a:ea typeface="微软雅黑"/>
              <a:cs typeface="微软雅黑"/>
            </a:rPr>
            <a:t>线下</a:t>
          </a:r>
        </a:p>
      </dgm:t>
    </dgm:pt>
    <dgm:pt modelId="{956F4404-0947-C544-82D0-516BFE4300AC}" type="parTrans" cxnId="{393708DF-D75D-5744-BA8D-6B92BD28CFA8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C7A0B9E6-58B4-1B44-BE86-3E5D6D248086}" type="sibTrans" cxnId="{393708DF-D75D-5744-BA8D-6B92BD28CFA8}">
      <dgm:prSet/>
      <dgm:spPr/>
      <dgm:t>
        <a:bodyPr/>
        <a:lstStyle/>
        <a:p>
          <a:endParaRPr lang="zh-CN" altLang="en-US" sz="800">
            <a:latin typeface="微软雅黑"/>
            <a:ea typeface="微软雅黑"/>
            <a:cs typeface="微软雅黑"/>
          </a:endParaRPr>
        </a:p>
      </dgm:t>
    </dgm:pt>
    <dgm:pt modelId="{01682042-1199-3B44-B89D-893D1B9D6BDD}">
      <dgm:prSet phldrT="[文本]" custT="1"/>
      <dgm:spPr/>
      <dgm:t>
        <a:bodyPr/>
        <a:lstStyle/>
        <a:p>
          <a:r>
            <a:rPr lang="zh-CN" altLang="en-US" sz="800" dirty="0">
              <a:latin typeface="微软雅黑"/>
              <a:ea typeface="微软雅黑"/>
              <a:cs typeface="微软雅黑"/>
            </a:rPr>
            <a:t>平均修复时间</a:t>
          </a:r>
        </a:p>
      </dgm:t>
    </dgm:pt>
    <dgm:pt modelId="{B6F9928D-00F1-594B-BD8D-35E5D8C533B7}" type="parTrans" cxnId="{244EAD86-0964-E745-BE83-6DF8BA8E052C}">
      <dgm:prSet/>
      <dgm:spPr/>
      <dgm:t>
        <a:bodyPr/>
        <a:lstStyle/>
        <a:p>
          <a:endParaRPr lang="zh-CN" altLang="en-US" sz="800"/>
        </a:p>
      </dgm:t>
    </dgm:pt>
    <dgm:pt modelId="{6A52C90A-1D79-6B49-86DB-FFAA626CF3B6}" type="sibTrans" cxnId="{244EAD86-0964-E745-BE83-6DF8BA8E052C}">
      <dgm:prSet/>
      <dgm:spPr/>
      <dgm:t>
        <a:bodyPr/>
        <a:lstStyle/>
        <a:p>
          <a:endParaRPr lang="zh-CN" altLang="en-US" sz="800"/>
        </a:p>
      </dgm:t>
    </dgm:pt>
    <dgm:pt modelId="{8015CE13-0900-E743-A97B-E09BA508755E}">
      <dgm:prSet phldrT="[文本]" custT="1"/>
      <dgm:spPr/>
      <dgm:t>
        <a:bodyPr/>
        <a:lstStyle/>
        <a:p>
          <a:r>
            <a:rPr lang="zh-CN" altLang="en-US" sz="800" dirty="0">
              <a:latin typeface="微软雅黑"/>
              <a:ea typeface="微软雅黑"/>
              <a:cs typeface="微软雅黑"/>
            </a:rPr>
            <a:t>稳定性、性能</a:t>
          </a:r>
        </a:p>
      </dgm:t>
    </dgm:pt>
    <dgm:pt modelId="{1A2AAD09-493F-7744-9CE6-AC75DA5C221A}" type="parTrans" cxnId="{F2C46786-A696-B94A-B2C2-35F51B0989A7}">
      <dgm:prSet/>
      <dgm:spPr/>
      <dgm:t>
        <a:bodyPr/>
        <a:lstStyle/>
        <a:p>
          <a:endParaRPr lang="zh-CN" altLang="en-US" sz="800"/>
        </a:p>
      </dgm:t>
    </dgm:pt>
    <dgm:pt modelId="{084432DE-D088-AF47-BB05-6162B6EFB1CD}" type="sibTrans" cxnId="{F2C46786-A696-B94A-B2C2-35F51B0989A7}">
      <dgm:prSet/>
      <dgm:spPr/>
      <dgm:t>
        <a:bodyPr/>
        <a:lstStyle/>
        <a:p>
          <a:endParaRPr lang="zh-CN" altLang="en-US" sz="800"/>
        </a:p>
      </dgm:t>
    </dgm:pt>
    <dgm:pt modelId="{49FB9B41-ACA1-5B4B-BD64-068497AD0D2E}" type="pres">
      <dgm:prSet presAssocID="{91BD690D-3F75-334E-A676-DAD59BA5F296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CAA4F4E-EFB7-5A48-A47E-45F55E7D2B2B}" type="pres">
      <dgm:prSet presAssocID="{E0C51D7C-0F16-3447-8970-9854F7588E09}" presName="hierRoot1" presStyleCnt="0"/>
      <dgm:spPr/>
    </dgm:pt>
    <dgm:pt modelId="{F56184EE-AF5A-894D-9EE9-9956C35EE2EF}" type="pres">
      <dgm:prSet presAssocID="{E0C51D7C-0F16-3447-8970-9854F7588E09}" presName="composite" presStyleCnt="0"/>
      <dgm:spPr/>
    </dgm:pt>
    <dgm:pt modelId="{2DBE4AAB-442C-F443-B029-F734B9F11CD7}" type="pres">
      <dgm:prSet presAssocID="{E0C51D7C-0F16-3447-8970-9854F7588E09}" presName="background" presStyleLbl="node0" presStyleIdx="0" presStyleCnt="1"/>
      <dgm:spPr/>
    </dgm:pt>
    <dgm:pt modelId="{98AF8C43-4353-E642-9278-53068189CC06}" type="pres">
      <dgm:prSet presAssocID="{E0C51D7C-0F16-3447-8970-9854F7588E09}" presName="text" presStyleLbl="fgAcc0" presStyleIdx="0" presStyleCnt="1">
        <dgm:presLayoutVars>
          <dgm:chPref val="3"/>
        </dgm:presLayoutVars>
      </dgm:prSet>
      <dgm:spPr/>
    </dgm:pt>
    <dgm:pt modelId="{2B710F18-F1FF-BF42-9BD5-E69D4E0C09A0}" type="pres">
      <dgm:prSet presAssocID="{E0C51D7C-0F16-3447-8970-9854F7588E09}" presName="hierChild2" presStyleCnt="0"/>
      <dgm:spPr/>
    </dgm:pt>
    <dgm:pt modelId="{DCF44862-CDB8-434B-94BF-84DE2D2FF29E}" type="pres">
      <dgm:prSet presAssocID="{FC793FEE-31EB-5C4A-B306-5F76CB08C231}" presName="Name10" presStyleLbl="parChTrans1D2" presStyleIdx="0" presStyleCnt="2"/>
      <dgm:spPr/>
    </dgm:pt>
    <dgm:pt modelId="{8AFF5E98-AB85-FA45-81D1-0B3EDEE8C7CB}" type="pres">
      <dgm:prSet presAssocID="{7E25F2F6-6E27-534E-AB4F-C15799510682}" presName="hierRoot2" presStyleCnt="0"/>
      <dgm:spPr/>
    </dgm:pt>
    <dgm:pt modelId="{A792F8D7-20FA-4F45-B232-B6D3CC8BD9D1}" type="pres">
      <dgm:prSet presAssocID="{7E25F2F6-6E27-534E-AB4F-C15799510682}" presName="composite2" presStyleCnt="0"/>
      <dgm:spPr/>
    </dgm:pt>
    <dgm:pt modelId="{B4F0B7CA-00DB-8D47-9C54-2A9F7727CD6D}" type="pres">
      <dgm:prSet presAssocID="{7E25F2F6-6E27-534E-AB4F-C15799510682}" presName="background2" presStyleLbl="node2" presStyleIdx="0" presStyleCnt="2"/>
      <dgm:spPr/>
    </dgm:pt>
    <dgm:pt modelId="{E8BF90C9-616A-984B-9B5D-FE8E3AD2C5B5}" type="pres">
      <dgm:prSet presAssocID="{7E25F2F6-6E27-534E-AB4F-C15799510682}" presName="text2" presStyleLbl="fgAcc2" presStyleIdx="0" presStyleCnt="2">
        <dgm:presLayoutVars>
          <dgm:chPref val="3"/>
        </dgm:presLayoutVars>
      </dgm:prSet>
      <dgm:spPr/>
    </dgm:pt>
    <dgm:pt modelId="{6E33FDB8-9A1E-F34B-8884-FBCE39690F59}" type="pres">
      <dgm:prSet presAssocID="{7E25F2F6-6E27-534E-AB4F-C15799510682}" presName="hierChild3" presStyleCnt="0"/>
      <dgm:spPr/>
    </dgm:pt>
    <dgm:pt modelId="{B5CE0C39-91B8-0D44-A5C9-3C6751CFAE0F}" type="pres">
      <dgm:prSet presAssocID="{5FEDB227-90E6-1B49-ABD8-C6E31A09ED25}" presName="Name17" presStyleLbl="parChTrans1D3" presStyleIdx="0" presStyleCnt="5"/>
      <dgm:spPr/>
    </dgm:pt>
    <dgm:pt modelId="{C8EFBFC7-01B2-6D41-A439-054D2E719127}" type="pres">
      <dgm:prSet presAssocID="{47E70ABD-84A5-754B-8639-520C7C816EEF}" presName="hierRoot3" presStyleCnt="0"/>
      <dgm:spPr/>
    </dgm:pt>
    <dgm:pt modelId="{7251F3EF-6DD8-2245-8417-A99F0C6C9326}" type="pres">
      <dgm:prSet presAssocID="{47E70ABD-84A5-754B-8639-520C7C816EEF}" presName="composite3" presStyleCnt="0"/>
      <dgm:spPr/>
    </dgm:pt>
    <dgm:pt modelId="{EE63F529-437D-5640-974F-1141520A642E}" type="pres">
      <dgm:prSet presAssocID="{47E70ABD-84A5-754B-8639-520C7C816EEF}" presName="background3" presStyleLbl="node3" presStyleIdx="0" presStyleCnt="5"/>
      <dgm:spPr/>
    </dgm:pt>
    <dgm:pt modelId="{B54D6AA0-9C4D-5F46-B746-5724A985FAAF}" type="pres">
      <dgm:prSet presAssocID="{47E70ABD-84A5-754B-8639-520C7C816EEF}" presName="text3" presStyleLbl="fgAcc3" presStyleIdx="0" presStyleCnt="5">
        <dgm:presLayoutVars>
          <dgm:chPref val="3"/>
        </dgm:presLayoutVars>
      </dgm:prSet>
      <dgm:spPr/>
    </dgm:pt>
    <dgm:pt modelId="{6D5249AE-B640-6141-9248-DE555A292C47}" type="pres">
      <dgm:prSet presAssocID="{47E70ABD-84A5-754B-8639-520C7C816EEF}" presName="hierChild4" presStyleCnt="0"/>
      <dgm:spPr/>
    </dgm:pt>
    <dgm:pt modelId="{45B5C950-E75A-D04A-AC56-5630957D261E}" type="pres">
      <dgm:prSet presAssocID="{B6F9928D-00F1-594B-BD8D-35E5D8C533B7}" presName="Name17" presStyleLbl="parChTrans1D3" presStyleIdx="1" presStyleCnt="5"/>
      <dgm:spPr/>
    </dgm:pt>
    <dgm:pt modelId="{6E303619-BACD-C84C-9F9A-05A8FB84BEF6}" type="pres">
      <dgm:prSet presAssocID="{01682042-1199-3B44-B89D-893D1B9D6BDD}" presName="hierRoot3" presStyleCnt="0"/>
      <dgm:spPr/>
    </dgm:pt>
    <dgm:pt modelId="{3164D5B4-F614-6440-BC5C-F706F358709F}" type="pres">
      <dgm:prSet presAssocID="{01682042-1199-3B44-B89D-893D1B9D6BDD}" presName="composite3" presStyleCnt="0"/>
      <dgm:spPr/>
    </dgm:pt>
    <dgm:pt modelId="{621BE6F9-09BA-CB44-8950-3D8795DACB19}" type="pres">
      <dgm:prSet presAssocID="{01682042-1199-3B44-B89D-893D1B9D6BDD}" presName="background3" presStyleLbl="node3" presStyleIdx="1" presStyleCnt="5"/>
      <dgm:spPr/>
    </dgm:pt>
    <dgm:pt modelId="{DB3ED058-01C0-2344-A16D-9230257AB063}" type="pres">
      <dgm:prSet presAssocID="{01682042-1199-3B44-B89D-893D1B9D6BDD}" presName="text3" presStyleLbl="fgAcc3" presStyleIdx="1" presStyleCnt="5">
        <dgm:presLayoutVars>
          <dgm:chPref val="3"/>
        </dgm:presLayoutVars>
      </dgm:prSet>
      <dgm:spPr/>
    </dgm:pt>
    <dgm:pt modelId="{72144D24-75E8-B645-98BF-5FD0C4966AB1}" type="pres">
      <dgm:prSet presAssocID="{01682042-1199-3B44-B89D-893D1B9D6BDD}" presName="hierChild4" presStyleCnt="0"/>
      <dgm:spPr/>
    </dgm:pt>
    <dgm:pt modelId="{1DB9C864-4191-694F-A281-23552BDE2C68}" type="pres">
      <dgm:prSet presAssocID="{1A2AAD09-493F-7744-9CE6-AC75DA5C221A}" presName="Name17" presStyleLbl="parChTrans1D3" presStyleIdx="2" presStyleCnt="5"/>
      <dgm:spPr/>
    </dgm:pt>
    <dgm:pt modelId="{80E60372-67A3-9448-AC23-860D3CA94524}" type="pres">
      <dgm:prSet presAssocID="{8015CE13-0900-E743-A97B-E09BA508755E}" presName="hierRoot3" presStyleCnt="0"/>
      <dgm:spPr/>
    </dgm:pt>
    <dgm:pt modelId="{44B66E04-EBF2-BD44-894B-D10464157D5A}" type="pres">
      <dgm:prSet presAssocID="{8015CE13-0900-E743-A97B-E09BA508755E}" presName="composite3" presStyleCnt="0"/>
      <dgm:spPr/>
    </dgm:pt>
    <dgm:pt modelId="{B1865D98-CC7F-8E42-9E13-BB4D537EA541}" type="pres">
      <dgm:prSet presAssocID="{8015CE13-0900-E743-A97B-E09BA508755E}" presName="background3" presStyleLbl="node3" presStyleIdx="2" presStyleCnt="5"/>
      <dgm:spPr/>
    </dgm:pt>
    <dgm:pt modelId="{A64F03D7-E729-0343-A5EC-E8132D3D225E}" type="pres">
      <dgm:prSet presAssocID="{8015CE13-0900-E743-A97B-E09BA508755E}" presName="text3" presStyleLbl="fgAcc3" presStyleIdx="2" presStyleCnt="5">
        <dgm:presLayoutVars>
          <dgm:chPref val="3"/>
        </dgm:presLayoutVars>
      </dgm:prSet>
      <dgm:spPr/>
    </dgm:pt>
    <dgm:pt modelId="{E2B01509-5FF4-0046-94B0-819CEC345BEC}" type="pres">
      <dgm:prSet presAssocID="{8015CE13-0900-E743-A97B-E09BA508755E}" presName="hierChild4" presStyleCnt="0"/>
      <dgm:spPr/>
    </dgm:pt>
    <dgm:pt modelId="{A10B1F75-E4C8-A842-BD8D-0EB27856A80A}" type="pres">
      <dgm:prSet presAssocID="{956F4404-0947-C544-82D0-516BFE4300AC}" presName="Name10" presStyleLbl="parChTrans1D2" presStyleIdx="1" presStyleCnt="2"/>
      <dgm:spPr/>
    </dgm:pt>
    <dgm:pt modelId="{65865518-CD34-B240-850D-2CB005F65BE7}" type="pres">
      <dgm:prSet presAssocID="{4D6E69BF-F7D9-2F49-AF29-AF8E62FA0BD7}" presName="hierRoot2" presStyleCnt="0"/>
      <dgm:spPr/>
    </dgm:pt>
    <dgm:pt modelId="{36615DC8-62A0-534D-9CEB-9CA4089FBB0A}" type="pres">
      <dgm:prSet presAssocID="{4D6E69BF-F7D9-2F49-AF29-AF8E62FA0BD7}" presName="composite2" presStyleCnt="0"/>
      <dgm:spPr/>
    </dgm:pt>
    <dgm:pt modelId="{E8CC76CF-17D7-7F41-805F-E3C481F57F7D}" type="pres">
      <dgm:prSet presAssocID="{4D6E69BF-F7D9-2F49-AF29-AF8E62FA0BD7}" presName="background2" presStyleLbl="node2" presStyleIdx="1" presStyleCnt="2"/>
      <dgm:spPr/>
    </dgm:pt>
    <dgm:pt modelId="{BD52FEBF-DBB1-C845-9A64-E98C04DBB1F9}" type="pres">
      <dgm:prSet presAssocID="{4D6E69BF-F7D9-2F49-AF29-AF8E62FA0BD7}" presName="text2" presStyleLbl="fgAcc2" presStyleIdx="1" presStyleCnt="2">
        <dgm:presLayoutVars>
          <dgm:chPref val="3"/>
        </dgm:presLayoutVars>
      </dgm:prSet>
      <dgm:spPr/>
    </dgm:pt>
    <dgm:pt modelId="{167CE8C1-2B64-854D-BB78-8FD85F566361}" type="pres">
      <dgm:prSet presAssocID="{4D6E69BF-F7D9-2F49-AF29-AF8E62FA0BD7}" presName="hierChild3" presStyleCnt="0"/>
      <dgm:spPr/>
    </dgm:pt>
    <dgm:pt modelId="{2C43BDDD-7E39-404B-A13D-E05E93A1F9A4}" type="pres">
      <dgm:prSet presAssocID="{46EE73C0-342B-7A45-9470-1CD269129839}" presName="Name17" presStyleLbl="parChTrans1D3" presStyleIdx="3" presStyleCnt="5"/>
      <dgm:spPr/>
    </dgm:pt>
    <dgm:pt modelId="{533B6224-C4B2-FE42-A038-447FBCCA77B8}" type="pres">
      <dgm:prSet presAssocID="{B1DD9984-2F0B-1341-B77A-2A1E16A60393}" presName="hierRoot3" presStyleCnt="0"/>
      <dgm:spPr/>
    </dgm:pt>
    <dgm:pt modelId="{5E37D372-A469-D24A-90BC-4EA2C845CAB6}" type="pres">
      <dgm:prSet presAssocID="{B1DD9984-2F0B-1341-B77A-2A1E16A60393}" presName="composite3" presStyleCnt="0"/>
      <dgm:spPr/>
    </dgm:pt>
    <dgm:pt modelId="{18D97882-83DC-704F-9DAB-3A73950D71D5}" type="pres">
      <dgm:prSet presAssocID="{B1DD9984-2F0B-1341-B77A-2A1E16A60393}" presName="background3" presStyleLbl="node3" presStyleIdx="3" presStyleCnt="5"/>
      <dgm:spPr/>
    </dgm:pt>
    <dgm:pt modelId="{3CDB61A6-9060-3947-963D-509E4E6D7BEC}" type="pres">
      <dgm:prSet presAssocID="{B1DD9984-2F0B-1341-B77A-2A1E16A60393}" presName="text3" presStyleLbl="fgAcc3" presStyleIdx="3" presStyleCnt="5">
        <dgm:presLayoutVars>
          <dgm:chPref val="3"/>
        </dgm:presLayoutVars>
      </dgm:prSet>
      <dgm:spPr/>
    </dgm:pt>
    <dgm:pt modelId="{E4F601E9-A390-8246-A72C-2050899C54CB}" type="pres">
      <dgm:prSet presAssocID="{B1DD9984-2F0B-1341-B77A-2A1E16A60393}" presName="hierChild4" presStyleCnt="0"/>
      <dgm:spPr/>
    </dgm:pt>
    <dgm:pt modelId="{DB053EB2-8589-0F48-A577-B11FE706FB6F}" type="pres">
      <dgm:prSet presAssocID="{E9B4A1F0-C03A-274E-9506-B8F41E1F4DC7}" presName="Name17" presStyleLbl="parChTrans1D3" presStyleIdx="4" presStyleCnt="5"/>
      <dgm:spPr/>
    </dgm:pt>
    <dgm:pt modelId="{F858D8FA-5A2C-5749-A6BC-36C6A6CA710A}" type="pres">
      <dgm:prSet presAssocID="{ADEAA086-42C3-A040-87E8-96B72BD82A93}" presName="hierRoot3" presStyleCnt="0"/>
      <dgm:spPr/>
    </dgm:pt>
    <dgm:pt modelId="{2E346983-77FB-F345-A787-8B1F5CEDDB73}" type="pres">
      <dgm:prSet presAssocID="{ADEAA086-42C3-A040-87E8-96B72BD82A93}" presName="composite3" presStyleCnt="0"/>
      <dgm:spPr/>
    </dgm:pt>
    <dgm:pt modelId="{BB18E513-C122-734C-BF09-1F5DF3F1786D}" type="pres">
      <dgm:prSet presAssocID="{ADEAA086-42C3-A040-87E8-96B72BD82A93}" presName="background3" presStyleLbl="node3" presStyleIdx="4" presStyleCnt="5"/>
      <dgm:spPr/>
    </dgm:pt>
    <dgm:pt modelId="{4C2C4383-170C-6E4B-A459-7B8B9BCBBAEA}" type="pres">
      <dgm:prSet presAssocID="{ADEAA086-42C3-A040-87E8-96B72BD82A93}" presName="text3" presStyleLbl="fgAcc3" presStyleIdx="4" presStyleCnt="5">
        <dgm:presLayoutVars>
          <dgm:chPref val="3"/>
        </dgm:presLayoutVars>
      </dgm:prSet>
      <dgm:spPr/>
    </dgm:pt>
    <dgm:pt modelId="{0D514701-4A68-9740-84ED-232DA21BE36B}" type="pres">
      <dgm:prSet presAssocID="{ADEAA086-42C3-A040-87E8-96B72BD82A93}" presName="hierChild4" presStyleCnt="0"/>
      <dgm:spPr/>
    </dgm:pt>
  </dgm:ptLst>
  <dgm:cxnLst>
    <dgm:cxn modelId="{72B8D108-9534-5540-88BD-F4051B7D9260}" type="presOf" srcId="{1A2AAD09-493F-7744-9CE6-AC75DA5C221A}" destId="{1DB9C864-4191-694F-A281-23552BDE2C68}" srcOrd="0" destOrd="0" presId="urn:microsoft.com/office/officeart/2005/8/layout/hierarchy1"/>
    <dgm:cxn modelId="{67B3FD0F-D369-994C-A343-43FFBECEF446}" type="presOf" srcId="{956F4404-0947-C544-82D0-516BFE4300AC}" destId="{A10B1F75-E4C8-A842-BD8D-0EB27856A80A}" srcOrd="0" destOrd="0" presId="urn:microsoft.com/office/officeart/2005/8/layout/hierarchy1"/>
    <dgm:cxn modelId="{6F94E327-F0FB-C849-9481-61DFB1E8AC52}" type="presOf" srcId="{91BD690D-3F75-334E-A676-DAD59BA5F296}" destId="{49FB9B41-ACA1-5B4B-BD64-068497AD0D2E}" srcOrd="0" destOrd="0" presId="urn:microsoft.com/office/officeart/2005/8/layout/hierarchy1"/>
    <dgm:cxn modelId="{D56FAC2B-AFE3-B640-A39A-26AC73DE3457}" type="presOf" srcId="{46EE73C0-342B-7A45-9470-1CD269129839}" destId="{2C43BDDD-7E39-404B-A13D-E05E93A1F9A4}" srcOrd="0" destOrd="0" presId="urn:microsoft.com/office/officeart/2005/8/layout/hierarchy1"/>
    <dgm:cxn modelId="{041DFD41-A806-0047-B8B0-18B1C7260B92}" type="presOf" srcId="{47E70ABD-84A5-754B-8639-520C7C816EEF}" destId="{B54D6AA0-9C4D-5F46-B746-5724A985FAAF}" srcOrd="0" destOrd="0" presId="urn:microsoft.com/office/officeart/2005/8/layout/hierarchy1"/>
    <dgm:cxn modelId="{E26C6751-1763-E649-A8E0-FEDCD6419AA7}" type="presOf" srcId="{E0C51D7C-0F16-3447-8970-9854F7588E09}" destId="{98AF8C43-4353-E642-9278-53068189CC06}" srcOrd="0" destOrd="0" presId="urn:microsoft.com/office/officeart/2005/8/layout/hierarchy1"/>
    <dgm:cxn modelId="{6FC8446E-237D-F84A-B0EC-D2F812D117C3}" srcId="{E0C51D7C-0F16-3447-8970-9854F7588E09}" destId="{7E25F2F6-6E27-534E-AB4F-C15799510682}" srcOrd="0" destOrd="0" parTransId="{FC793FEE-31EB-5C4A-B306-5F76CB08C231}" sibTransId="{65DE22FE-D92B-B24C-94B6-4005C58965E8}"/>
    <dgm:cxn modelId="{572A4D7D-A3F6-CF40-B514-891887A0223A}" type="presOf" srcId="{B1DD9984-2F0B-1341-B77A-2A1E16A60393}" destId="{3CDB61A6-9060-3947-963D-509E4E6D7BEC}" srcOrd="0" destOrd="0" presId="urn:microsoft.com/office/officeart/2005/8/layout/hierarchy1"/>
    <dgm:cxn modelId="{5D478584-1939-2C48-9128-AEB601E497C6}" type="presOf" srcId="{7E25F2F6-6E27-534E-AB4F-C15799510682}" destId="{E8BF90C9-616A-984B-9B5D-FE8E3AD2C5B5}" srcOrd="0" destOrd="0" presId="urn:microsoft.com/office/officeart/2005/8/layout/hierarchy1"/>
    <dgm:cxn modelId="{F2C46786-A696-B94A-B2C2-35F51B0989A7}" srcId="{7E25F2F6-6E27-534E-AB4F-C15799510682}" destId="{8015CE13-0900-E743-A97B-E09BA508755E}" srcOrd="2" destOrd="0" parTransId="{1A2AAD09-493F-7744-9CE6-AC75DA5C221A}" sibTransId="{084432DE-D088-AF47-BB05-6162B6EFB1CD}"/>
    <dgm:cxn modelId="{244EAD86-0964-E745-BE83-6DF8BA8E052C}" srcId="{7E25F2F6-6E27-534E-AB4F-C15799510682}" destId="{01682042-1199-3B44-B89D-893D1B9D6BDD}" srcOrd="1" destOrd="0" parTransId="{B6F9928D-00F1-594B-BD8D-35E5D8C533B7}" sibTransId="{6A52C90A-1D79-6B49-86DB-FFAA626CF3B6}"/>
    <dgm:cxn modelId="{5E8FB28B-964A-C741-B464-8B1A0D6ED419}" srcId="{7E25F2F6-6E27-534E-AB4F-C15799510682}" destId="{47E70ABD-84A5-754B-8639-520C7C816EEF}" srcOrd="0" destOrd="0" parTransId="{5FEDB227-90E6-1B49-ABD8-C6E31A09ED25}" sibTransId="{20A9D7C8-BF57-E849-A2CA-F3F60509F52F}"/>
    <dgm:cxn modelId="{78A02E91-DD94-0A46-A771-F0E33239DA71}" srcId="{4D6E69BF-F7D9-2F49-AF29-AF8E62FA0BD7}" destId="{B1DD9984-2F0B-1341-B77A-2A1E16A60393}" srcOrd="0" destOrd="0" parTransId="{46EE73C0-342B-7A45-9470-1CD269129839}" sibTransId="{D7B8BAD9-5AB5-0F42-B0BA-8840CACC0416}"/>
    <dgm:cxn modelId="{FFF66597-8108-EC4B-AFE6-AEC12C1B7D58}" type="presOf" srcId="{E9B4A1F0-C03A-274E-9506-B8F41E1F4DC7}" destId="{DB053EB2-8589-0F48-A577-B11FE706FB6F}" srcOrd="0" destOrd="0" presId="urn:microsoft.com/office/officeart/2005/8/layout/hierarchy1"/>
    <dgm:cxn modelId="{12363BA2-187E-2D44-AB51-777206E70FC1}" type="presOf" srcId="{8015CE13-0900-E743-A97B-E09BA508755E}" destId="{A64F03D7-E729-0343-A5EC-E8132D3D225E}" srcOrd="0" destOrd="0" presId="urn:microsoft.com/office/officeart/2005/8/layout/hierarchy1"/>
    <dgm:cxn modelId="{544466A4-7177-6247-81E3-3B7DF6CE0100}" type="presOf" srcId="{5FEDB227-90E6-1B49-ABD8-C6E31A09ED25}" destId="{B5CE0C39-91B8-0D44-A5C9-3C6751CFAE0F}" srcOrd="0" destOrd="0" presId="urn:microsoft.com/office/officeart/2005/8/layout/hierarchy1"/>
    <dgm:cxn modelId="{4DA152A7-D841-3640-B55C-8CD464C9DFC7}" type="presOf" srcId="{B6F9928D-00F1-594B-BD8D-35E5D8C533B7}" destId="{45B5C950-E75A-D04A-AC56-5630957D261E}" srcOrd="0" destOrd="0" presId="urn:microsoft.com/office/officeart/2005/8/layout/hierarchy1"/>
    <dgm:cxn modelId="{E1AD2CAD-C3B4-3B46-9BE4-917A7B3EABBD}" srcId="{91BD690D-3F75-334E-A676-DAD59BA5F296}" destId="{E0C51D7C-0F16-3447-8970-9854F7588E09}" srcOrd="0" destOrd="0" parTransId="{4B94D47A-5D41-5649-9EFB-3DE7E6374858}" sibTransId="{7570DA1C-FC1B-BD40-A2B4-FEFBF1A93912}"/>
    <dgm:cxn modelId="{26B124DA-49F5-3644-85EA-1674D3A874CC}" type="presOf" srcId="{01682042-1199-3B44-B89D-893D1B9D6BDD}" destId="{DB3ED058-01C0-2344-A16D-9230257AB063}" srcOrd="0" destOrd="0" presId="urn:microsoft.com/office/officeart/2005/8/layout/hierarchy1"/>
    <dgm:cxn modelId="{393708DF-D75D-5744-BA8D-6B92BD28CFA8}" srcId="{E0C51D7C-0F16-3447-8970-9854F7588E09}" destId="{4D6E69BF-F7D9-2F49-AF29-AF8E62FA0BD7}" srcOrd="1" destOrd="0" parTransId="{956F4404-0947-C544-82D0-516BFE4300AC}" sibTransId="{C7A0B9E6-58B4-1B44-BE86-3E5D6D248086}"/>
    <dgm:cxn modelId="{8244E0E3-BA41-0249-B094-19BF7AD6EEEF}" type="presOf" srcId="{ADEAA086-42C3-A040-87E8-96B72BD82A93}" destId="{4C2C4383-170C-6E4B-A459-7B8B9BCBBAEA}" srcOrd="0" destOrd="0" presId="urn:microsoft.com/office/officeart/2005/8/layout/hierarchy1"/>
    <dgm:cxn modelId="{BCE455EB-B89C-7141-99DB-9F0BF84C1D36}" type="presOf" srcId="{4D6E69BF-F7D9-2F49-AF29-AF8E62FA0BD7}" destId="{BD52FEBF-DBB1-C845-9A64-E98C04DBB1F9}" srcOrd="0" destOrd="0" presId="urn:microsoft.com/office/officeart/2005/8/layout/hierarchy1"/>
    <dgm:cxn modelId="{1328FFF3-0369-194D-8D96-E0FA4562CE4B}" srcId="{4D6E69BF-F7D9-2F49-AF29-AF8E62FA0BD7}" destId="{ADEAA086-42C3-A040-87E8-96B72BD82A93}" srcOrd="1" destOrd="0" parTransId="{E9B4A1F0-C03A-274E-9506-B8F41E1F4DC7}" sibTransId="{95498993-1FEE-934E-A4D5-1EC9DEC9493F}"/>
    <dgm:cxn modelId="{E01424F5-7E5A-C049-A79D-09E0218FCC5B}" type="presOf" srcId="{FC793FEE-31EB-5C4A-B306-5F76CB08C231}" destId="{DCF44862-CDB8-434B-94BF-84DE2D2FF29E}" srcOrd="0" destOrd="0" presId="urn:microsoft.com/office/officeart/2005/8/layout/hierarchy1"/>
    <dgm:cxn modelId="{06FAF53F-54ED-EC47-9857-A7D8D8F1DEAB}" type="presParOf" srcId="{49FB9B41-ACA1-5B4B-BD64-068497AD0D2E}" destId="{3CAA4F4E-EFB7-5A48-A47E-45F55E7D2B2B}" srcOrd="0" destOrd="0" presId="urn:microsoft.com/office/officeart/2005/8/layout/hierarchy1"/>
    <dgm:cxn modelId="{AC4C4DAA-3882-5D40-BE67-CFB0E0C1633E}" type="presParOf" srcId="{3CAA4F4E-EFB7-5A48-A47E-45F55E7D2B2B}" destId="{F56184EE-AF5A-894D-9EE9-9956C35EE2EF}" srcOrd="0" destOrd="0" presId="urn:microsoft.com/office/officeart/2005/8/layout/hierarchy1"/>
    <dgm:cxn modelId="{C71553F1-C4EA-824E-BF7D-BFBE93A5EB73}" type="presParOf" srcId="{F56184EE-AF5A-894D-9EE9-9956C35EE2EF}" destId="{2DBE4AAB-442C-F443-B029-F734B9F11CD7}" srcOrd="0" destOrd="0" presId="urn:microsoft.com/office/officeart/2005/8/layout/hierarchy1"/>
    <dgm:cxn modelId="{336B19C0-98BB-F245-BD1F-550D7074472F}" type="presParOf" srcId="{F56184EE-AF5A-894D-9EE9-9956C35EE2EF}" destId="{98AF8C43-4353-E642-9278-53068189CC06}" srcOrd="1" destOrd="0" presId="urn:microsoft.com/office/officeart/2005/8/layout/hierarchy1"/>
    <dgm:cxn modelId="{85FF539B-3EE4-AE4A-AC60-4976A854E500}" type="presParOf" srcId="{3CAA4F4E-EFB7-5A48-A47E-45F55E7D2B2B}" destId="{2B710F18-F1FF-BF42-9BD5-E69D4E0C09A0}" srcOrd="1" destOrd="0" presId="urn:microsoft.com/office/officeart/2005/8/layout/hierarchy1"/>
    <dgm:cxn modelId="{8508918B-8FF0-E342-910C-C399A9E7CB6C}" type="presParOf" srcId="{2B710F18-F1FF-BF42-9BD5-E69D4E0C09A0}" destId="{DCF44862-CDB8-434B-94BF-84DE2D2FF29E}" srcOrd="0" destOrd="0" presId="urn:microsoft.com/office/officeart/2005/8/layout/hierarchy1"/>
    <dgm:cxn modelId="{82D3D9EB-6150-D346-804F-877F936750D9}" type="presParOf" srcId="{2B710F18-F1FF-BF42-9BD5-E69D4E0C09A0}" destId="{8AFF5E98-AB85-FA45-81D1-0B3EDEE8C7CB}" srcOrd="1" destOrd="0" presId="urn:microsoft.com/office/officeart/2005/8/layout/hierarchy1"/>
    <dgm:cxn modelId="{A99A7617-7033-1742-B177-BA9E8EBE2495}" type="presParOf" srcId="{8AFF5E98-AB85-FA45-81D1-0B3EDEE8C7CB}" destId="{A792F8D7-20FA-4F45-B232-B6D3CC8BD9D1}" srcOrd="0" destOrd="0" presId="urn:microsoft.com/office/officeart/2005/8/layout/hierarchy1"/>
    <dgm:cxn modelId="{5E912CA5-DAD4-4440-AF84-09A1ECA12E72}" type="presParOf" srcId="{A792F8D7-20FA-4F45-B232-B6D3CC8BD9D1}" destId="{B4F0B7CA-00DB-8D47-9C54-2A9F7727CD6D}" srcOrd="0" destOrd="0" presId="urn:microsoft.com/office/officeart/2005/8/layout/hierarchy1"/>
    <dgm:cxn modelId="{41061A08-63A0-B84F-A7AC-5EDBFBB4A072}" type="presParOf" srcId="{A792F8D7-20FA-4F45-B232-B6D3CC8BD9D1}" destId="{E8BF90C9-616A-984B-9B5D-FE8E3AD2C5B5}" srcOrd="1" destOrd="0" presId="urn:microsoft.com/office/officeart/2005/8/layout/hierarchy1"/>
    <dgm:cxn modelId="{AA6DAF5B-AEEE-5945-8888-BBCF58A2D260}" type="presParOf" srcId="{8AFF5E98-AB85-FA45-81D1-0B3EDEE8C7CB}" destId="{6E33FDB8-9A1E-F34B-8884-FBCE39690F59}" srcOrd="1" destOrd="0" presId="urn:microsoft.com/office/officeart/2005/8/layout/hierarchy1"/>
    <dgm:cxn modelId="{52024C09-BD57-DF48-8BE4-CF27F90450FB}" type="presParOf" srcId="{6E33FDB8-9A1E-F34B-8884-FBCE39690F59}" destId="{B5CE0C39-91B8-0D44-A5C9-3C6751CFAE0F}" srcOrd="0" destOrd="0" presId="urn:microsoft.com/office/officeart/2005/8/layout/hierarchy1"/>
    <dgm:cxn modelId="{48762795-C508-D240-AD04-6629A53B94F1}" type="presParOf" srcId="{6E33FDB8-9A1E-F34B-8884-FBCE39690F59}" destId="{C8EFBFC7-01B2-6D41-A439-054D2E719127}" srcOrd="1" destOrd="0" presId="urn:microsoft.com/office/officeart/2005/8/layout/hierarchy1"/>
    <dgm:cxn modelId="{169353CF-D729-5240-9C2D-D6710B37B097}" type="presParOf" srcId="{C8EFBFC7-01B2-6D41-A439-054D2E719127}" destId="{7251F3EF-6DD8-2245-8417-A99F0C6C9326}" srcOrd="0" destOrd="0" presId="urn:microsoft.com/office/officeart/2005/8/layout/hierarchy1"/>
    <dgm:cxn modelId="{ABD60F01-12B6-FD4F-8880-16197EADB9EC}" type="presParOf" srcId="{7251F3EF-6DD8-2245-8417-A99F0C6C9326}" destId="{EE63F529-437D-5640-974F-1141520A642E}" srcOrd="0" destOrd="0" presId="urn:microsoft.com/office/officeart/2005/8/layout/hierarchy1"/>
    <dgm:cxn modelId="{3BADD99F-FE2C-4D4B-A5A0-8326EF508029}" type="presParOf" srcId="{7251F3EF-6DD8-2245-8417-A99F0C6C9326}" destId="{B54D6AA0-9C4D-5F46-B746-5724A985FAAF}" srcOrd="1" destOrd="0" presId="urn:microsoft.com/office/officeart/2005/8/layout/hierarchy1"/>
    <dgm:cxn modelId="{A6D6299C-D7EC-104A-8D63-FE814F11F73A}" type="presParOf" srcId="{C8EFBFC7-01B2-6D41-A439-054D2E719127}" destId="{6D5249AE-B640-6141-9248-DE555A292C47}" srcOrd="1" destOrd="0" presId="urn:microsoft.com/office/officeart/2005/8/layout/hierarchy1"/>
    <dgm:cxn modelId="{9CE73BCD-B09E-0844-8969-7DF106E5FB28}" type="presParOf" srcId="{6E33FDB8-9A1E-F34B-8884-FBCE39690F59}" destId="{45B5C950-E75A-D04A-AC56-5630957D261E}" srcOrd="2" destOrd="0" presId="urn:microsoft.com/office/officeart/2005/8/layout/hierarchy1"/>
    <dgm:cxn modelId="{E81346B0-1964-8149-916C-0620540AB41B}" type="presParOf" srcId="{6E33FDB8-9A1E-F34B-8884-FBCE39690F59}" destId="{6E303619-BACD-C84C-9F9A-05A8FB84BEF6}" srcOrd="3" destOrd="0" presId="urn:microsoft.com/office/officeart/2005/8/layout/hierarchy1"/>
    <dgm:cxn modelId="{B64D675B-984D-9F4E-865E-751674A2A9BA}" type="presParOf" srcId="{6E303619-BACD-C84C-9F9A-05A8FB84BEF6}" destId="{3164D5B4-F614-6440-BC5C-F706F358709F}" srcOrd="0" destOrd="0" presId="urn:microsoft.com/office/officeart/2005/8/layout/hierarchy1"/>
    <dgm:cxn modelId="{2E595C44-1C58-B541-9F79-38EF519679BF}" type="presParOf" srcId="{3164D5B4-F614-6440-BC5C-F706F358709F}" destId="{621BE6F9-09BA-CB44-8950-3D8795DACB19}" srcOrd="0" destOrd="0" presId="urn:microsoft.com/office/officeart/2005/8/layout/hierarchy1"/>
    <dgm:cxn modelId="{C1FD3DC6-B5A3-D14B-A39A-B61D263BB1B4}" type="presParOf" srcId="{3164D5B4-F614-6440-BC5C-F706F358709F}" destId="{DB3ED058-01C0-2344-A16D-9230257AB063}" srcOrd="1" destOrd="0" presId="urn:microsoft.com/office/officeart/2005/8/layout/hierarchy1"/>
    <dgm:cxn modelId="{8E6FFA0D-2E27-A44F-A153-BEF32F9952A0}" type="presParOf" srcId="{6E303619-BACD-C84C-9F9A-05A8FB84BEF6}" destId="{72144D24-75E8-B645-98BF-5FD0C4966AB1}" srcOrd="1" destOrd="0" presId="urn:microsoft.com/office/officeart/2005/8/layout/hierarchy1"/>
    <dgm:cxn modelId="{545C08B1-F32E-3C4F-8DF5-E19C7BF57DB6}" type="presParOf" srcId="{6E33FDB8-9A1E-F34B-8884-FBCE39690F59}" destId="{1DB9C864-4191-694F-A281-23552BDE2C68}" srcOrd="4" destOrd="0" presId="urn:microsoft.com/office/officeart/2005/8/layout/hierarchy1"/>
    <dgm:cxn modelId="{49989E66-6DDC-7C40-A683-2493BF16C55E}" type="presParOf" srcId="{6E33FDB8-9A1E-F34B-8884-FBCE39690F59}" destId="{80E60372-67A3-9448-AC23-860D3CA94524}" srcOrd="5" destOrd="0" presId="urn:microsoft.com/office/officeart/2005/8/layout/hierarchy1"/>
    <dgm:cxn modelId="{D736FCE4-6E72-8841-B3AE-E3627D713708}" type="presParOf" srcId="{80E60372-67A3-9448-AC23-860D3CA94524}" destId="{44B66E04-EBF2-BD44-894B-D10464157D5A}" srcOrd="0" destOrd="0" presId="urn:microsoft.com/office/officeart/2005/8/layout/hierarchy1"/>
    <dgm:cxn modelId="{C2DBF7F7-CA00-194B-B5FE-890E9745729C}" type="presParOf" srcId="{44B66E04-EBF2-BD44-894B-D10464157D5A}" destId="{B1865D98-CC7F-8E42-9E13-BB4D537EA541}" srcOrd="0" destOrd="0" presId="urn:microsoft.com/office/officeart/2005/8/layout/hierarchy1"/>
    <dgm:cxn modelId="{748FD888-756C-1245-AAC5-F1C804128441}" type="presParOf" srcId="{44B66E04-EBF2-BD44-894B-D10464157D5A}" destId="{A64F03D7-E729-0343-A5EC-E8132D3D225E}" srcOrd="1" destOrd="0" presId="urn:microsoft.com/office/officeart/2005/8/layout/hierarchy1"/>
    <dgm:cxn modelId="{634B7DB1-1FA7-1F4B-80FA-F54D75D0AEC2}" type="presParOf" srcId="{80E60372-67A3-9448-AC23-860D3CA94524}" destId="{E2B01509-5FF4-0046-94B0-819CEC345BEC}" srcOrd="1" destOrd="0" presId="urn:microsoft.com/office/officeart/2005/8/layout/hierarchy1"/>
    <dgm:cxn modelId="{A3F172FF-DAA0-894B-A4F1-0E5CB051B27D}" type="presParOf" srcId="{2B710F18-F1FF-BF42-9BD5-E69D4E0C09A0}" destId="{A10B1F75-E4C8-A842-BD8D-0EB27856A80A}" srcOrd="2" destOrd="0" presId="urn:microsoft.com/office/officeart/2005/8/layout/hierarchy1"/>
    <dgm:cxn modelId="{49593657-1601-4C4E-878A-43DF160DEA00}" type="presParOf" srcId="{2B710F18-F1FF-BF42-9BD5-E69D4E0C09A0}" destId="{65865518-CD34-B240-850D-2CB005F65BE7}" srcOrd="3" destOrd="0" presId="urn:microsoft.com/office/officeart/2005/8/layout/hierarchy1"/>
    <dgm:cxn modelId="{623F1874-BAFE-B44D-98D7-27770A1F2187}" type="presParOf" srcId="{65865518-CD34-B240-850D-2CB005F65BE7}" destId="{36615DC8-62A0-534D-9CEB-9CA4089FBB0A}" srcOrd="0" destOrd="0" presId="urn:microsoft.com/office/officeart/2005/8/layout/hierarchy1"/>
    <dgm:cxn modelId="{89D5AECA-8772-DF4A-B870-75072AC4945C}" type="presParOf" srcId="{36615DC8-62A0-534D-9CEB-9CA4089FBB0A}" destId="{E8CC76CF-17D7-7F41-805F-E3C481F57F7D}" srcOrd="0" destOrd="0" presId="urn:microsoft.com/office/officeart/2005/8/layout/hierarchy1"/>
    <dgm:cxn modelId="{536A9B1A-41AF-A543-90F9-9316D1FA8B2D}" type="presParOf" srcId="{36615DC8-62A0-534D-9CEB-9CA4089FBB0A}" destId="{BD52FEBF-DBB1-C845-9A64-E98C04DBB1F9}" srcOrd="1" destOrd="0" presId="urn:microsoft.com/office/officeart/2005/8/layout/hierarchy1"/>
    <dgm:cxn modelId="{88B3988C-F1C0-1347-8674-277C97A688A6}" type="presParOf" srcId="{65865518-CD34-B240-850D-2CB005F65BE7}" destId="{167CE8C1-2B64-854D-BB78-8FD85F566361}" srcOrd="1" destOrd="0" presId="urn:microsoft.com/office/officeart/2005/8/layout/hierarchy1"/>
    <dgm:cxn modelId="{CC0DF38E-55CB-C148-B108-79AE1891249B}" type="presParOf" srcId="{167CE8C1-2B64-854D-BB78-8FD85F566361}" destId="{2C43BDDD-7E39-404B-A13D-E05E93A1F9A4}" srcOrd="0" destOrd="0" presId="urn:microsoft.com/office/officeart/2005/8/layout/hierarchy1"/>
    <dgm:cxn modelId="{63C0820E-45DB-C846-98B5-129CCEC21468}" type="presParOf" srcId="{167CE8C1-2B64-854D-BB78-8FD85F566361}" destId="{533B6224-C4B2-FE42-A038-447FBCCA77B8}" srcOrd="1" destOrd="0" presId="urn:microsoft.com/office/officeart/2005/8/layout/hierarchy1"/>
    <dgm:cxn modelId="{23B691AE-84C9-E44A-AE93-6BA704B4D2E0}" type="presParOf" srcId="{533B6224-C4B2-FE42-A038-447FBCCA77B8}" destId="{5E37D372-A469-D24A-90BC-4EA2C845CAB6}" srcOrd="0" destOrd="0" presId="urn:microsoft.com/office/officeart/2005/8/layout/hierarchy1"/>
    <dgm:cxn modelId="{2F4C0150-2AEC-A64E-9DB8-641B9319AA55}" type="presParOf" srcId="{5E37D372-A469-D24A-90BC-4EA2C845CAB6}" destId="{18D97882-83DC-704F-9DAB-3A73950D71D5}" srcOrd="0" destOrd="0" presId="urn:microsoft.com/office/officeart/2005/8/layout/hierarchy1"/>
    <dgm:cxn modelId="{BD8D1C82-4684-B94C-8546-0D91EEE0685B}" type="presParOf" srcId="{5E37D372-A469-D24A-90BC-4EA2C845CAB6}" destId="{3CDB61A6-9060-3947-963D-509E4E6D7BEC}" srcOrd="1" destOrd="0" presId="urn:microsoft.com/office/officeart/2005/8/layout/hierarchy1"/>
    <dgm:cxn modelId="{4881EF24-FDCB-C641-AC2F-AA44778E6EC3}" type="presParOf" srcId="{533B6224-C4B2-FE42-A038-447FBCCA77B8}" destId="{E4F601E9-A390-8246-A72C-2050899C54CB}" srcOrd="1" destOrd="0" presId="urn:microsoft.com/office/officeart/2005/8/layout/hierarchy1"/>
    <dgm:cxn modelId="{5DC88D66-785E-3B4F-8503-729F5B1EC5A6}" type="presParOf" srcId="{167CE8C1-2B64-854D-BB78-8FD85F566361}" destId="{DB053EB2-8589-0F48-A577-B11FE706FB6F}" srcOrd="2" destOrd="0" presId="urn:microsoft.com/office/officeart/2005/8/layout/hierarchy1"/>
    <dgm:cxn modelId="{1A350895-F2C0-8B45-BFBD-254296319A70}" type="presParOf" srcId="{167CE8C1-2B64-854D-BB78-8FD85F566361}" destId="{F858D8FA-5A2C-5749-A6BC-36C6A6CA710A}" srcOrd="3" destOrd="0" presId="urn:microsoft.com/office/officeart/2005/8/layout/hierarchy1"/>
    <dgm:cxn modelId="{ABFEBA4E-8428-F94D-A34D-EFD955080E22}" type="presParOf" srcId="{F858D8FA-5A2C-5749-A6BC-36C6A6CA710A}" destId="{2E346983-77FB-F345-A787-8B1F5CEDDB73}" srcOrd="0" destOrd="0" presId="urn:microsoft.com/office/officeart/2005/8/layout/hierarchy1"/>
    <dgm:cxn modelId="{D383B35D-6C2C-5445-8080-823F8B7A2A48}" type="presParOf" srcId="{2E346983-77FB-F345-A787-8B1F5CEDDB73}" destId="{BB18E513-C122-734C-BF09-1F5DF3F1786D}" srcOrd="0" destOrd="0" presId="urn:microsoft.com/office/officeart/2005/8/layout/hierarchy1"/>
    <dgm:cxn modelId="{C9ADAC0B-E8AE-534F-B7A8-1536D5F5BF98}" type="presParOf" srcId="{2E346983-77FB-F345-A787-8B1F5CEDDB73}" destId="{4C2C4383-170C-6E4B-A459-7B8B9BCBBAEA}" srcOrd="1" destOrd="0" presId="urn:microsoft.com/office/officeart/2005/8/layout/hierarchy1"/>
    <dgm:cxn modelId="{0C1A6493-80AB-AE4B-95D2-B18F7F4CCE01}" type="presParOf" srcId="{F858D8FA-5A2C-5749-A6BC-36C6A6CA710A}" destId="{0D514701-4A68-9740-84ED-232DA21BE36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EE401E-3D4C-5648-BBC4-B167C84C563A}">
      <dsp:nvSpPr>
        <dsp:cNvPr id="0" name=""/>
        <dsp:cNvSpPr/>
      </dsp:nvSpPr>
      <dsp:spPr>
        <a:xfrm>
          <a:off x="106" y="1330940"/>
          <a:ext cx="1699969" cy="14021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产品价值一页纸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季度一页纸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迭代</a:t>
          </a:r>
          <a:r>
            <a:rPr lang="en-US" altLang="zh-CN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Guidance</a:t>
          </a:r>
          <a:endParaRPr lang="zh-CN" altLang="en-US" sz="11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迭代</a:t>
          </a:r>
          <a:r>
            <a:rPr lang="en-US" altLang="zh-CN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plan</a:t>
          </a: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、</a:t>
          </a:r>
          <a:r>
            <a:rPr lang="en-US" altLang="zh-CN" sz="1100" kern="1200" dirty="0" err="1">
              <a:latin typeface="Microsoft YaHei" panose="020B0503020204020204" pitchFamily="34" charset="-122"/>
              <a:ea typeface="Microsoft YaHei" panose="020B0503020204020204" pitchFamily="34" charset="-122"/>
            </a:rPr>
            <a:t>showtell</a:t>
          </a:r>
          <a:endParaRPr lang="zh-CN" altLang="en-US" sz="11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sp:txBody>
      <dsp:txXfrm>
        <a:off x="32373" y="1363207"/>
        <a:ext cx="1635435" cy="1037131"/>
      </dsp:txXfrm>
    </dsp:sp>
    <dsp:sp modelId="{BF79BC1A-16E4-4046-9C64-DDCFBA6762A8}">
      <dsp:nvSpPr>
        <dsp:cNvPr id="0" name=""/>
        <dsp:cNvSpPr/>
      </dsp:nvSpPr>
      <dsp:spPr>
        <a:xfrm>
          <a:off x="975710" y="1737664"/>
          <a:ext cx="1767229" cy="1767229"/>
        </a:xfrm>
        <a:prstGeom prst="leftCircularArrow">
          <a:avLst>
            <a:gd name="adj1" fmla="val 2550"/>
            <a:gd name="adj2" fmla="val 309429"/>
            <a:gd name="adj3" fmla="val 2084940"/>
            <a:gd name="adj4" fmla="val 9024489"/>
            <a:gd name="adj5" fmla="val 2975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D30551-58AE-074F-9DFE-B7831827AEA3}">
      <dsp:nvSpPr>
        <dsp:cNvPr id="0" name=""/>
        <dsp:cNvSpPr/>
      </dsp:nvSpPr>
      <dsp:spPr>
        <a:xfrm>
          <a:off x="377877" y="2432605"/>
          <a:ext cx="1511084" cy="6009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高价值</a:t>
          </a:r>
        </a:p>
      </dsp:txBody>
      <dsp:txXfrm>
        <a:off x="395477" y="2450205"/>
        <a:ext cx="1475884" cy="565708"/>
      </dsp:txXfrm>
    </dsp:sp>
    <dsp:sp modelId="{DE421DC4-815C-BD44-8816-8DAF510DC2D4}">
      <dsp:nvSpPr>
        <dsp:cNvPr id="0" name=""/>
        <dsp:cNvSpPr/>
      </dsp:nvSpPr>
      <dsp:spPr>
        <a:xfrm>
          <a:off x="2103572" y="1330940"/>
          <a:ext cx="1699969" cy="14021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1100" kern="120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卡片层级划分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需求拆分</a:t>
          </a:r>
        </a:p>
      </dsp:txBody>
      <dsp:txXfrm>
        <a:off x="2135839" y="1663661"/>
        <a:ext cx="1635435" cy="1037131"/>
      </dsp:txXfrm>
    </dsp:sp>
    <dsp:sp modelId="{591AA343-8194-A140-8B86-B92AF9D212BB}">
      <dsp:nvSpPr>
        <dsp:cNvPr id="0" name=""/>
        <dsp:cNvSpPr/>
      </dsp:nvSpPr>
      <dsp:spPr>
        <a:xfrm>
          <a:off x="3065009" y="504130"/>
          <a:ext cx="1984448" cy="1984448"/>
        </a:xfrm>
        <a:prstGeom prst="circularArrow">
          <a:avLst>
            <a:gd name="adj1" fmla="val 2271"/>
            <a:gd name="adj2" fmla="val 273786"/>
            <a:gd name="adj3" fmla="val 19550703"/>
            <a:gd name="adj4" fmla="val 12575511"/>
            <a:gd name="adj5" fmla="val 265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8741C1-B5B7-3C4A-A0F2-018A96A15A39}">
      <dsp:nvSpPr>
        <dsp:cNvPr id="0" name=""/>
        <dsp:cNvSpPr/>
      </dsp:nvSpPr>
      <dsp:spPr>
        <a:xfrm>
          <a:off x="2481343" y="1030485"/>
          <a:ext cx="1511084" cy="6009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条理清晰</a:t>
          </a:r>
        </a:p>
      </dsp:txBody>
      <dsp:txXfrm>
        <a:off x="2498943" y="1048085"/>
        <a:ext cx="1475884" cy="565708"/>
      </dsp:txXfrm>
    </dsp:sp>
    <dsp:sp modelId="{B6A3D984-4DF5-9F41-8C56-192F8B1CFCB9}">
      <dsp:nvSpPr>
        <dsp:cNvPr id="0" name=""/>
        <dsp:cNvSpPr/>
      </dsp:nvSpPr>
      <dsp:spPr>
        <a:xfrm>
          <a:off x="4207037" y="1330940"/>
          <a:ext cx="1699969" cy="14021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优先级划分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动态调整的需求内容</a:t>
          </a:r>
        </a:p>
      </dsp:txBody>
      <dsp:txXfrm>
        <a:off x="4239304" y="1363207"/>
        <a:ext cx="1635435" cy="1037131"/>
      </dsp:txXfrm>
    </dsp:sp>
    <dsp:sp modelId="{B6A88857-296A-C14D-80F8-7E92C9049EAD}">
      <dsp:nvSpPr>
        <dsp:cNvPr id="0" name=""/>
        <dsp:cNvSpPr/>
      </dsp:nvSpPr>
      <dsp:spPr>
        <a:xfrm>
          <a:off x="4584809" y="2432605"/>
          <a:ext cx="1511084" cy="6009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latin typeface="Microsoft YaHei" panose="020B0503020204020204" pitchFamily="34" charset="-122"/>
              <a:ea typeface="Microsoft YaHei" panose="020B0503020204020204" pitchFamily="34" charset="-122"/>
            </a:rPr>
            <a:t>适应变化</a:t>
          </a:r>
        </a:p>
      </dsp:txBody>
      <dsp:txXfrm>
        <a:off x="4602409" y="2450205"/>
        <a:ext cx="1475884" cy="5657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9CF4B4-C1F5-2E47-B3BD-DE5EC2D278E1}">
      <dsp:nvSpPr>
        <dsp:cNvPr id="0" name=""/>
        <dsp:cNvSpPr/>
      </dsp:nvSpPr>
      <dsp:spPr>
        <a:xfrm>
          <a:off x="1611168" y="751937"/>
          <a:ext cx="588235" cy="139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387"/>
              </a:lnTo>
              <a:lnTo>
                <a:pt x="588235" y="95387"/>
              </a:lnTo>
              <a:lnTo>
                <a:pt x="588235" y="139973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053EB2-8589-0F48-A577-B11FE706FB6F}">
      <dsp:nvSpPr>
        <dsp:cNvPr id="0" name=""/>
        <dsp:cNvSpPr/>
      </dsp:nvSpPr>
      <dsp:spPr>
        <a:xfrm>
          <a:off x="1565448" y="751937"/>
          <a:ext cx="91440" cy="1399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973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43BDDD-7E39-404B-A13D-E05E93A1F9A4}">
      <dsp:nvSpPr>
        <dsp:cNvPr id="0" name=""/>
        <dsp:cNvSpPr/>
      </dsp:nvSpPr>
      <dsp:spPr>
        <a:xfrm>
          <a:off x="1022933" y="751937"/>
          <a:ext cx="588235" cy="139973"/>
        </a:xfrm>
        <a:custGeom>
          <a:avLst/>
          <a:gdLst/>
          <a:ahLst/>
          <a:cxnLst/>
          <a:rect l="0" t="0" r="0" b="0"/>
          <a:pathLst>
            <a:path>
              <a:moveTo>
                <a:pt x="588235" y="0"/>
              </a:moveTo>
              <a:lnTo>
                <a:pt x="588235" y="95387"/>
              </a:lnTo>
              <a:lnTo>
                <a:pt x="0" y="95387"/>
              </a:lnTo>
              <a:lnTo>
                <a:pt x="0" y="139973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0B1F75-E4C8-A842-BD8D-0EB27856A80A}">
      <dsp:nvSpPr>
        <dsp:cNvPr id="0" name=""/>
        <dsp:cNvSpPr/>
      </dsp:nvSpPr>
      <dsp:spPr>
        <a:xfrm>
          <a:off x="1022933" y="306348"/>
          <a:ext cx="588235" cy="139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387"/>
              </a:lnTo>
              <a:lnTo>
                <a:pt x="588235" y="95387"/>
              </a:lnTo>
              <a:lnTo>
                <a:pt x="588235" y="139973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CE0C39-91B8-0D44-A5C9-3C6751CFAE0F}">
      <dsp:nvSpPr>
        <dsp:cNvPr id="0" name=""/>
        <dsp:cNvSpPr/>
      </dsp:nvSpPr>
      <dsp:spPr>
        <a:xfrm>
          <a:off x="388977" y="751937"/>
          <a:ext cx="91440" cy="1399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973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F44862-CDB8-434B-94BF-84DE2D2FF29E}">
      <dsp:nvSpPr>
        <dsp:cNvPr id="0" name=""/>
        <dsp:cNvSpPr/>
      </dsp:nvSpPr>
      <dsp:spPr>
        <a:xfrm>
          <a:off x="434697" y="306348"/>
          <a:ext cx="588235" cy="139973"/>
        </a:xfrm>
        <a:custGeom>
          <a:avLst/>
          <a:gdLst/>
          <a:ahLst/>
          <a:cxnLst/>
          <a:rect l="0" t="0" r="0" b="0"/>
          <a:pathLst>
            <a:path>
              <a:moveTo>
                <a:pt x="588235" y="0"/>
              </a:moveTo>
              <a:lnTo>
                <a:pt x="588235" y="95387"/>
              </a:lnTo>
              <a:lnTo>
                <a:pt x="0" y="95387"/>
              </a:lnTo>
              <a:lnTo>
                <a:pt x="0" y="139973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BE4AAB-442C-F443-B029-F734B9F11CD7}">
      <dsp:nvSpPr>
        <dsp:cNvPr id="0" name=""/>
        <dsp:cNvSpPr/>
      </dsp:nvSpPr>
      <dsp:spPr>
        <a:xfrm>
          <a:off x="782291" y="733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8AF8C43-4353-E642-9278-53068189CC06}">
      <dsp:nvSpPr>
        <dsp:cNvPr id="0" name=""/>
        <dsp:cNvSpPr/>
      </dsp:nvSpPr>
      <dsp:spPr>
        <a:xfrm>
          <a:off x="835767" y="51535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latin typeface="微软雅黑"/>
              <a:ea typeface="微软雅黑"/>
              <a:cs typeface="微软雅黑"/>
            </a:rPr>
            <a:t>效率</a:t>
          </a:r>
        </a:p>
      </dsp:txBody>
      <dsp:txXfrm>
        <a:off x="844718" y="60486"/>
        <a:ext cx="463381" cy="287713"/>
      </dsp:txXfrm>
    </dsp:sp>
    <dsp:sp modelId="{B4F0B7CA-00DB-8D47-9C54-2A9F7727CD6D}">
      <dsp:nvSpPr>
        <dsp:cNvPr id="0" name=""/>
        <dsp:cNvSpPr/>
      </dsp:nvSpPr>
      <dsp:spPr>
        <a:xfrm>
          <a:off x="194055" y="446322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8BF90C9-616A-984B-9B5D-FE8E3AD2C5B5}">
      <dsp:nvSpPr>
        <dsp:cNvPr id="0" name=""/>
        <dsp:cNvSpPr/>
      </dsp:nvSpPr>
      <dsp:spPr>
        <a:xfrm>
          <a:off x="247531" y="497124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700" kern="1200" dirty="0">
              <a:latin typeface="微软雅黑"/>
              <a:ea typeface="微软雅黑"/>
              <a:cs typeface="微软雅黑"/>
            </a:rPr>
            <a:t>交付价值</a:t>
          </a:r>
        </a:p>
      </dsp:txBody>
      <dsp:txXfrm>
        <a:off x="256482" y="506075"/>
        <a:ext cx="463381" cy="287713"/>
      </dsp:txXfrm>
    </dsp:sp>
    <dsp:sp modelId="{EE63F529-437D-5640-974F-1141520A642E}">
      <dsp:nvSpPr>
        <dsp:cNvPr id="0" name=""/>
        <dsp:cNvSpPr/>
      </dsp:nvSpPr>
      <dsp:spPr>
        <a:xfrm>
          <a:off x="194055" y="891910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54D6AA0-9C4D-5F46-B746-5724A985FAAF}">
      <dsp:nvSpPr>
        <dsp:cNvPr id="0" name=""/>
        <dsp:cNvSpPr/>
      </dsp:nvSpPr>
      <dsp:spPr>
        <a:xfrm>
          <a:off x="247531" y="942713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700" kern="1200" dirty="0">
              <a:latin typeface="微软雅黑"/>
              <a:ea typeface="微软雅黑"/>
              <a:cs typeface="微软雅黑"/>
            </a:rPr>
            <a:t>吞吐量</a:t>
          </a:r>
        </a:p>
      </dsp:txBody>
      <dsp:txXfrm>
        <a:off x="256482" y="951664"/>
        <a:ext cx="463381" cy="287713"/>
      </dsp:txXfrm>
    </dsp:sp>
    <dsp:sp modelId="{E8CC76CF-17D7-7F41-805F-E3C481F57F7D}">
      <dsp:nvSpPr>
        <dsp:cNvPr id="0" name=""/>
        <dsp:cNvSpPr/>
      </dsp:nvSpPr>
      <dsp:spPr>
        <a:xfrm>
          <a:off x="1370526" y="446322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52FEBF-DBB1-C845-9A64-E98C04DBB1F9}">
      <dsp:nvSpPr>
        <dsp:cNvPr id="0" name=""/>
        <dsp:cNvSpPr/>
      </dsp:nvSpPr>
      <dsp:spPr>
        <a:xfrm>
          <a:off x="1424002" y="497124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700" kern="1200" dirty="0">
              <a:latin typeface="微软雅黑"/>
              <a:ea typeface="微软雅黑"/>
              <a:cs typeface="微软雅黑"/>
            </a:rPr>
            <a:t>交付周期</a:t>
          </a:r>
        </a:p>
      </dsp:txBody>
      <dsp:txXfrm>
        <a:off x="1432953" y="506075"/>
        <a:ext cx="463381" cy="287713"/>
      </dsp:txXfrm>
    </dsp:sp>
    <dsp:sp modelId="{18D97882-83DC-704F-9DAB-3A73950D71D5}">
      <dsp:nvSpPr>
        <dsp:cNvPr id="0" name=""/>
        <dsp:cNvSpPr/>
      </dsp:nvSpPr>
      <dsp:spPr>
        <a:xfrm>
          <a:off x="782291" y="891910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CDB61A6-9060-3947-963D-509E4E6D7BEC}">
      <dsp:nvSpPr>
        <dsp:cNvPr id="0" name=""/>
        <dsp:cNvSpPr/>
      </dsp:nvSpPr>
      <dsp:spPr>
        <a:xfrm>
          <a:off x="835767" y="942713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700" kern="1200" dirty="0">
              <a:latin typeface="微软雅黑"/>
              <a:ea typeface="微软雅黑"/>
              <a:cs typeface="微软雅黑"/>
            </a:rPr>
            <a:t>开发周期</a:t>
          </a:r>
        </a:p>
      </dsp:txBody>
      <dsp:txXfrm>
        <a:off x="844718" y="951664"/>
        <a:ext cx="463381" cy="287713"/>
      </dsp:txXfrm>
    </dsp:sp>
    <dsp:sp modelId="{BB18E513-C122-734C-BF09-1F5DF3F1786D}">
      <dsp:nvSpPr>
        <dsp:cNvPr id="0" name=""/>
        <dsp:cNvSpPr/>
      </dsp:nvSpPr>
      <dsp:spPr>
        <a:xfrm>
          <a:off x="1370526" y="891910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C2C4383-170C-6E4B-A459-7B8B9BCBBAEA}">
      <dsp:nvSpPr>
        <dsp:cNvPr id="0" name=""/>
        <dsp:cNvSpPr/>
      </dsp:nvSpPr>
      <dsp:spPr>
        <a:xfrm>
          <a:off x="1424002" y="942713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700" kern="1200" dirty="0">
              <a:latin typeface="微软雅黑"/>
              <a:ea typeface="微软雅黑"/>
              <a:cs typeface="微软雅黑"/>
            </a:rPr>
            <a:t>测试周期</a:t>
          </a:r>
        </a:p>
      </dsp:txBody>
      <dsp:txXfrm>
        <a:off x="1432953" y="951664"/>
        <a:ext cx="463381" cy="287713"/>
      </dsp:txXfrm>
    </dsp:sp>
    <dsp:sp modelId="{C19D9DF5-0508-3948-A647-A4F999C31170}">
      <dsp:nvSpPr>
        <dsp:cNvPr id="0" name=""/>
        <dsp:cNvSpPr/>
      </dsp:nvSpPr>
      <dsp:spPr>
        <a:xfrm>
          <a:off x="1958762" y="891910"/>
          <a:ext cx="481283" cy="3056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13568D0-C5BC-504C-A38D-D4FDC7FAE504}">
      <dsp:nvSpPr>
        <dsp:cNvPr id="0" name=""/>
        <dsp:cNvSpPr/>
      </dsp:nvSpPr>
      <dsp:spPr>
        <a:xfrm>
          <a:off x="2012238" y="942713"/>
          <a:ext cx="481283" cy="3056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700" kern="1200" dirty="0">
              <a:latin typeface="微软雅黑"/>
              <a:ea typeface="微软雅黑"/>
              <a:cs typeface="微软雅黑"/>
            </a:rPr>
            <a:t>上线耗时</a:t>
          </a:r>
        </a:p>
      </dsp:txBody>
      <dsp:txXfrm>
        <a:off x="2021189" y="951664"/>
        <a:ext cx="463381" cy="2877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053EB2-8589-0F48-A577-B11FE706FB6F}">
      <dsp:nvSpPr>
        <dsp:cNvPr id="0" name=""/>
        <dsp:cNvSpPr/>
      </dsp:nvSpPr>
      <dsp:spPr>
        <a:xfrm>
          <a:off x="2173639" y="935659"/>
          <a:ext cx="277904" cy="1322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129"/>
              </a:lnTo>
              <a:lnTo>
                <a:pt x="277904" y="90129"/>
              </a:lnTo>
              <a:lnTo>
                <a:pt x="277904" y="132257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43BDDD-7E39-404B-A13D-E05E93A1F9A4}">
      <dsp:nvSpPr>
        <dsp:cNvPr id="0" name=""/>
        <dsp:cNvSpPr/>
      </dsp:nvSpPr>
      <dsp:spPr>
        <a:xfrm>
          <a:off x="1895734" y="935659"/>
          <a:ext cx="277904" cy="132257"/>
        </a:xfrm>
        <a:custGeom>
          <a:avLst/>
          <a:gdLst/>
          <a:ahLst/>
          <a:cxnLst/>
          <a:rect l="0" t="0" r="0" b="0"/>
          <a:pathLst>
            <a:path>
              <a:moveTo>
                <a:pt x="277904" y="0"/>
              </a:moveTo>
              <a:lnTo>
                <a:pt x="277904" y="90129"/>
              </a:lnTo>
              <a:lnTo>
                <a:pt x="0" y="90129"/>
              </a:lnTo>
              <a:lnTo>
                <a:pt x="0" y="132257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0B1F75-E4C8-A842-BD8D-0EB27856A80A}">
      <dsp:nvSpPr>
        <dsp:cNvPr id="0" name=""/>
        <dsp:cNvSpPr/>
      </dsp:nvSpPr>
      <dsp:spPr>
        <a:xfrm>
          <a:off x="1478878" y="514634"/>
          <a:ext cx="694760" cy="1322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129"/>
              </a:lnTo>
              <a:lnTo>
                <a:pt x="694760" y="90129"/>
              </a:lnTo>
              <a:lnTo>
                <a:pt x="694760" y="132257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B9C864-4191-694F-A281-23552BDE2C68}">
      <dsp:nvSpPr>
        <dsp:cNvPr id="0" name=""/>
        <dsp:cNvSpPr/>
      </dsp:nvSpPr>
      <dsp:spPr>
        <a:xfrm>
          <a:off x="784117" y="935659"/>
          <a:ext cx="555808" cy="1322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129"/>
              </a:lnTo>
              <a:lnTo>
                <a:pt x="555808" y="90129"/>
              </a:lnTo>
              <a:lnTo>
                <a:pt x="555808" y="132257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B5C950-E75A-D04A-AC56-5630957D261E}">
      <dsp:nvSpPr>
        <dsp:cNvPr id="0" name=""/>
        <dsp:cNvSpPr/>
      </dsp:nvSpPr>
      <dsp:spPr>
        <a:xfrm>
          <a:off x="738397" y="935659"/>
          <a:ext cx="91440" cy="13225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2257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CE0C39-91B8-0D44-A5C9-3C6751CFAE0F}">
      <dsp:nvSpPr>
        <dsp:cNvPr id="0" name=""/>
        <dsp:cNvSpPr/>
      </dsp:nvSpPr>
      <dsp:spPr>
        <a:xfrm>
          <a:off x="228309" y="935659"/>
          <a:ext cx="555808" cy="132257"/>
        </a:xfrm>
        <a:custGeom>
          <a:avLst/>
          <a:gdLst/>
          <a:ahLst/>
          <a:cxnLst/>
          <a:rect l="0" t="0" r="0" b="0"/>
          <a:pathLst>
            <a:path>
              <a:moveTo>
                <a:pt x="555808" y="0"/>
              </a:moveTo>
              <a:lnTo>
                <a:pt x="555808" y="90129"/>
              </a:lnTo>
              <a:lnTo>
                <a:pt x="0" y="90129"/>
              </a:lnTo>
              <a:lnTo>
                <a:pt x="0" y="132257"/>
              </a:lnTo>
            </a:path>
          </a:pathLst>
        </a:custGeom>
        <a:noFill/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F44862-CDB8-434B-94BF-84DE2D2FF29E}">
      <dsp:nvSpPr>
        <dsp:cNvPr id="0" name=""/>
        <dsp:cNvSpPr/>
      </dsp:nvSpPr>
      <dsp:spPr>
        <a:xfrm>
          <a:off x="784117" y="514634"/>
          <a:ext cx="694760" cy="132257"/>
        </a:xfrm>
        <a:custGeom>
          <a:avLst/>
          <a:gdLst/>
          <a:ahLst/>
          <a:cxnLst/>
          <a:rect l="0" t="0" r="0" b="0"/>
          <a:pathLst>
            <a:path>
              <a:moveTo>
                <a:pt x="694760" y="0"/>
              </a:moveTo>
              <a:lnTo>
                <a:pt x="694760" y="90129"/>
              </a:lnTo>
              <a:lnTo>
                <a:pt x="0" y="90129"/>
              </a:lnTo>
              <a:lnTo>
                <a:pt x="0" y="132257"/>
              </a:lnTo>
            </a:path>
          </a:pathLst>
        </a:cu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BE4AAB-442C-F443-B029-F734B9F11CD7}">
      <dsp:nvSpPr>
        <dsp:cNvPr id="0" name=""/>
        <dsp:cNvSpPr/>
      </dsp:nvSpPr>
      <dsp:spPr>
        <a:xfrm>
          <a:off x="1251502" y="225866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8AF8C43-4353-E642-9278-53068189CC06}">
      <dsp:nvSpPr>
        <dsp:cNvPr id="0" name=""/>
        <dsp:cNvSpPr/>
      </dsp:nvSpPr>
      <dsp:spPr>
        <a:xfrm>
          <a:off x="1302030" y="273868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b="1" kern="1200" dirty="0">
              <a:latin typeface="微软雅黑"/>
              <a:ea typeface="微软雅黑"/>
              <a:cs typeface="微软雅黑"/>
            </a:rPr>
            <a:t>质量</a:t>
          </a:r>
        </a:p>
      </dsp:txBody>
      <dsp:txXfrm>
        <a:off x="1310488" y="282326"/>
        <a:ext cx="437836" cy="271851"/>
      </dsp:txXfrm>
    </dsp:sp>
    <dsp:sp modelId="{B4F0B7CA-00DB-8D47-9C54-2A9F7727CD6D}">
      <dsp:nvSpPr>
        <dsp:cNvPr id="0" name=""/>
        <dsp:cNvSpPr/>
      </dsp:nvSpPr>
      <dsp:spPr>
        <a:xfrm>
          <a:off x="556741" y="646891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8BF90C9-616A-984B-9B5D-FE8E3AD2C5B5}">
      <dsp:nvSpPr>
        <dsp:cNvPr id="0" name=""/>
        <dsp:cNvSpPr/>
      </dsp:nvSpPr>
      <dsp:spPr>
        <a:xfrm>
          <a:off x="607269" y="694893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800" kern="1200" dirty="0">
              <a:latin typeface="微软雅黑"/>
              <a:ea typeface="微软雅黑"/>
              <a:cs typeface="微软雅黑"/>
            </a:rPr>
            <a:t>线上</a:t>
          </a:r>
        </a:p>
      </dsp:txBody>
      <dsp:txXfrm>
        <a:off x="615727" y="703351"/>
        <a:ext cx="437836" cy="271851"/>
      </dsp:txXfrm>
    </dsp:sp>
    <dsp:sp modelId="{EE63F529-437D-5640-974F-1141520A642E}">
      <dsp:nvSpPr>
        <dsp:cNvPr id="0" name=""/>
        <dsp:cNvSpPr/>
      </dsp:nvSpPr>
      <dsp:spPr>
        <a:xfrm>
          <a:off x="933" y="1067916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54D6AA0-9C4D-5F46-B746-5724A985FAAF}">
      <dsp:nvSpPr>
        <dsp:cNvPr id="0" name=""/>
        <dsp:cNvSpPr/>
      </dsp:nvSpPr>
      <dsp:spPr>
        <a:xfrm>
          <a:off x="51461" y="1115918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800" kern="1200" dirty="0">
              <a:latin typeface="微软雅黑"/>
              <a:ea typeface="微软雅黑"/>
              <a:cs typeface="微软雅黑"/>
            </a:rPr>
            <a:t>bug</a:t>
          </a:r>
          <a:r>
            <a:rPr lang="zh-CN" altLang="en-US" sz="800" kern="1200" dirty="0">
              <a:latin typeface="微软雅黑"/>
              <a:ea typeface="微软雅黑"/>
              <a:cs typeface="微软雅黑"/>
            </a:rPr>
            <a:t>数</a:t>
          </a:r>
        </a:p>
      </dsp:txBody>
      <dsp:txXfrm>
        <a:off x="59919" y="1124376"/>
        <a:ext cx="437836" cy="271851"/>
      </dsp:txXfrm>
    </dsp:sp>
    <dsp:sp modelId="{621BE6F9-09BA-CB44-8950-3D8795DACB19}">
      <dsp:nvSpPr>
        <dsp:cNvPr id="0" name=""/>
        <dsp:cNvSpPr/>
      </dsp:nvSpPr>
      <dsp:spPr>
        <a:xfrm>
          <a:off x="556741" y="1067916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B3ED058-01C0-2344-A16D-9230257AB063}">
      <dsp:nvSpPr>
        <dsp:cNvPr id="0" name=""/>
        <dsp:cNvSpPr/>
      </dsp:nvSpPr>
      <dsp:spPr>
        <a:xfrm>
          <a:off x="607269" y="1115918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800" kern="1200" dirty="0">
              <a:latin typeface="微软雅黑"/>
              <a:ea typeface="微软雅黑"/>
              <a:cs typeface="微软雅黑"/>
            </a:rPr>
            <a:t>平均修复时间</a:t>
          </a:r>
        </a:p>
      </dsp:txBody>
      <dsp:txXfrm>
        <a:off x="615727" y="1124376"/>
        <a:ext cx="437836" cy="271851"/>
      </dsp:txXfrm>
    </dsp:sp>
    <dsp:sp modelId="{B1865D98-CC7F-8E42-9E13-BB4D537EA541}">
      <dsp:nvSpPr>
        <dsp:cNvPr id="0" name=""/>
        <dsp:cNvSpPr/>
      </dsp:nvSpPr>
      <dsp:spPr>
        <a:xfrm>
          <a:off x="1112550" y="1067916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64F03D7-E729-0343-A5EC-E8132D3D225E}">
      <dsp:nvSpPr>
        <dsp:cNvPr id="0" name=""/>
        <dsp:cNvSpPr/>
      </dsp:nvSpPr>
      <dsp:spPr>
        <a:xfrm>
          <a:off x="1163078" y="1115918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800" kern="1200" dirty="0">
              <a:latin typeface="微软雅黑"/>
              <a:ea typeface="微软雅黑"/>
              <a:cs typeface="微软雅黑"/>
            </a:rPr>
            <a:t>稳定性、性能</a:t>
          </a:r>
        </a:p>
      </dsp:txBody>
      <dsp:txXfrm>
        <a:off x="1171536" y="1124376"/>
        <a:ext cx="437836" cy="271851"/>
      </dsp:txXfrm>
    </dsp:sp>
    <dsp:sp modelId="{E8CC76CF-17D7-7F41-805F-E3C481F57F7D}">
      <dsp:nvSpPr>
        <dsp:cNvPr id="0" name=""/>
        <dsp:cNvSpPr/>
      </dsp:nvSpPr>
      <dsp:spPr>
        <a:xfrm>
          <a:off x="1946263" y="646891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52FEBF-DBB1-C845-9A64-E98C04DBB1F9}">
      <dsp:nvSpPr>
        <dsp:cNvPr id="0" name=""/>
        <dsp:cNvSpPr/>
      </dsp:nvSpPr>
      <dsp:spPr>
        <a:xfrm>
          <a:off x="1996791" y="694893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800" kern="1200" dirty="0">
              <a:latin typeface="微软雅黑"/>
              <a:ea typeface="微软雅黑"/>
              <a:cs typeface="微软雅黑"/>
            </a:rPr>
            <a:t>线下</a:t>
          </a:r>
        </a:p>
      </dsp:txBody>
      <dsp:txXfrm>
        <a:off x="2005249" y="703351"/>
        <a:ext cx="437836" cy="271851"/>
      </dsp:txXfrm>
    </dsp:sp>
    <dsp:sp modelId="{18D97882-83DC-704F-9DAB-3A73950D71D5}">
      <dsp:nvSpPr>
        <dsp:cNvPr id="0" name=""/>
        <dsp:cNvSpPr/>
      </dsp:nvSpPr>
      <dsp:spPr>
        <a:xfrm>
          <a:off x="1668358" y="1067916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CDB61A6-9060-3947-963D-509E4E6D7BEC}">
      <dsp:nvSpPr>
        <dsp:cNvPr id="0" name=""/>
        <dsp:cNvSpPr/>
      </dsp:nvSpPr>
      <dsp:spPr>
        <a:xfrm>
          <a:off x="1718886" y="1115918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800" kern="1200" dirty="0">
              <a:latin typeface="微软雅黑"/>
              <a:ea typeface="微软雅黑"/>
              <a:cs typeface="微软雅黑"/>
            </a:rPr>
            <a:t>千行 </a:t>
          </a:r>
          <a:r>
            <a:rPr lang="en-US" altLang="zh-CN" sz="800" kern="1200" dirty="0">
              <a:latin typeface="微软雅黑"/>
              <a:ea typeface="微软雅黑"/>
              <a:cs typeface="微软雅黑"/>
            </a:rPr>
            <a:t>bug</a:t>
          </a:r>
          <a:r>
            <a:rPr lang="zh-CN" altLang="en-US" sz="800" kern="1200" dirty="0">
              <a:latin typeface="微软雅黑"/>
              <a:ea typeface="微软雅黑"/>
              <a:cs typeface="微软雅黑"/>
            </a:rPr>
            <a:t> 率</a:t>
          </a:r>
        </a:p>
      </dsp:txBody>
      <dsp:txXfrm>
        <a:off x="1727344" y="1124376"/>
        <a:ext cx="437836" cy="271851"/>
      </dsp:txXfrm>
    </dsp:sp>
    <dsp:sp modelId="{BB18E513-C122-734C-BF09-1F5DF3F1786D}">
      <dsp:nvSpPr>
        <dsp:cNvPr id="0" name=""/>
        <dsp:cNvSpPr/>
      </dsp:nvSpPr>
      <dsp:spPr>
        <a:xfrm>
          <a:off x="2224167" y="1067916"/>
          <a:ext cx="454752" cy="2887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C2C4383-170C-6E4B-A459-7B8B9BCBBAEA}">
      <dsp:nvSpPr>
        <dsp:cNvPr id="0" name=""/>
        <dsp:cNvSpPr/>
      </dsp:nvSpPr>
      <dsp:spPr>
        <a:xfrm>
          <a:off x="2274695" y="1115918"/>
          <a:ext cx="454752" cy="288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800" kern="1200" dirty="0">
              <a:latin typeface="微软雅黑"/>
              <a:ea typeface="微软雅黑"/>
              <a:cs typeface="微软雅黑"/>
            </a:rPr>
            <a:t>Reopen</a:t>
          </a:r>
          <a:r>
            <a:rPr lang="zh-CN" altLang="en-US" sz="800" kern="1200" dirty="0">
              <a:latin typeface="微软雅黑"/>
              <a:ea typeface="微软雅黑"/>
              <a:cs typeface="微软雅黑"/>
            </a:rPr>
            <a:t>率</a:t>
          </a:r>
        </a:p>
      </dsp:txBody>
      <dsp:txXfrm>
        <a:off x="2283153" y="1124376"/>
        <a:ext cx="437836" cy="2718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38B5B-244C-024A-AD7A-9A062E1C41C9}" type="datetimeFigureOut">
              <a:rPr kumimoji="1" lang="zh-CN" altLang="en-US" smtClean="0"/>
              <a:t>2021/11/8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9440F-63CC-6445-B7C0-206C5E271F5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82356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7311B2-C3AE-4D93-AADD-E395F7487B60}" type="slidenum">
              <a:rPr lang="zh-CN" altLang="en-US" smtClean="0"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8946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7311B2-C3AE-4D93-AADD-E395F7487B60}" type="slidenum">
              <a:rPr lang="zh-CN" altLang="en-US" smtClean="0"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19500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altLang="zh-CN" sz="1200" dirty="0">
              <a:effectLst/>
              <a:latin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>
                <a:solidFill>
                  <a:prstClr val="black"/>
                </a:solidFill>
                <a:latin typeface="Calibri"/>
                <a:ea typeface="宋体"/>
              </a:rPr>
              <a:pPr/>
              <a:t>5</a:t>
            </a:fld>
            <a:endParaRPr lang="zh-CN" altLang="en-US">
              <a:solidFill>
                <a:prstClr val="black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7053475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29440F-63CC-6445-B7C0-206C5E271F58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11023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29440F-63CC-6445-B7C0-206C5E271F58}" type="slidenum">
              <a:rPr kumimoji="1" lang="zh-CN" altLang="en-US" smtClean="0"/>
              <a:t>1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265938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29440F-63CC-6445-B7C0-206C5E271F58}" type="slidenum">
              <a:rPr kumimoji="1" lang="zh-CN" altLang="en-US" smtClean="0"/>
              <a:t>1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10780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47932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63450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99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3381704" y="2618"/>
            <a:ext cx="2380595" cy="102476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7103"/>
              <a:endParaRPr lang="zh-CN" altLang="en-US" sz="2100" dirty="0">
                <a:solidFill>
                  <a:prstClr val="white"/>
                </a:solidFill>
                <a:latin typeface="Calibri"/>
                <a:ea typeface="微软雅黑"/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7103"/>
              <a:endParaRPr lang="zh-CN" altLang="en-US" sz="2100" dirty="0">
                <a:solidFill>
                  <a:prstClr val="white"/>
                </a:solidFill>
                <a:latin typeface="Calibri"/>
                <a:ea typeface="微软雅黑"/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2" y="1882488"/>
            <a:ext cx="9143999" cy="1378528"/>
          </a:xfrm>
          <a:prstGeom prst="rect">
            <a:avLst/>
          </a:prstGeom>
          <a:solidFill>
            <a:srgbClr val="376092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2818" tIns="68563" rIns="102846" bIns="68563" anchor="ctr"/>
          <a:lstStyle/>
          <a:p>
            <a:pPr defTabSz="754495">
              <a:spcBef>
                <a:spcPct val="0"/>
              </a:spcBef>
              <a:defRPr/>
            </a:pPr>
            <a:endParaRPr lang="zh-CN" altLang="en-US" sz="3800" kern="0" dirty="0">
              <a:solidFill>
                <a:prstClr val="white"/>
              </a:solidFill>
              <a:latin typeface="微软雅黑" panose="020B0503020204020204" pitchFamily="34" charset="-122"/>
              <a:ea typeface="微软雅黑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47577" y="2373508"/>
            <a:ext cx="7848849" cy="396488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37880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1646196" y="133944"/>
            <a:ext cx="5856614" cy="1138537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363169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6181" y="205980"/>
            <a:ext cx="8648119" cy="511474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58233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2386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990822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56291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3004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63206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8682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58867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021/11/8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9255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微软雅黑"/>
              </a:defRPr>
            </a:lvl1pPr>
          </a:lstStyle>
          <a:p>
            <a:pPr defTabSz="914400"/>
            <a:fld id="{2041457D-7432-443F-85B4-BCA85976510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2021/11/8</a:t>
            </a:fld>
            <a:endParaRPr lang="zh-CN" alt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微软雅黑"/>
              </a:defRPr>
            </a:lvl1pPr>
          </a:lstStyle>
          <a:p>
            <a:pPr defTabSz="914400"/>
            <a:endParaRPr lang="zh-CN" alt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微软雅黑"/>
              </a:defRPr>
            </a:lvl1pPr>
          </a:lstStyle>
          <a:p>
            <a:pPr defTabSz="914400"/>
            <a:fld id="{727C0F23-7476-4152-88A9-FD8DE3EDE3A5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9553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  <p:sldLayoutId id="214748367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微软雅黑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微软雅黑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微软雅黑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微软雅黑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微软雅黑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微软雅黑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emf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iki.baidu.com/pages/viewpage.action?pageId=1398409950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4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爱番番持续交付</a:t>
            </a:r>
          </a:p>
        </p:txBody>
      </p:sp>
    </p:spTree>
    <p:extLst>
      <p:ext uri="{BB962C8B-B14F-4D97-AF65-F5344CB8AC3E}">
        <p14:creationId xmlns:p14="http://schemas.microsoft.com/office/powerpoint/2010/main" val="3187070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I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智能化的流水线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FC92959-7E1B-B94B-9437-4F8598C57F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52" y="627735"/>
            <a:ext cx="8997696" cy="388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6547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I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化测试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FFF9CB6-8C2C-BA44-98F7-E573016CA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28" y="457908"/>
            <a:ext cx="9032543" cy="4013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635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0C62B45-8813-6F49-B446-D568E557F3DF}"/>
              </a:ext>
            </a:extLst>
          </p:cNvPr>
          <p:cNvSpPr/>
          <p:nvPr/>
        </p:nvSpPr>
        <p:spPr>
          <a:xfrm>
            <a:off x="128016" y="109085"/>
            <a:ext cx="72860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I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测试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基于全链路灰度环境的流量</a:t>
            </a:r>
            <a:r>
              <a:rPr kumimoji="1"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IFF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回归</a:t>
            </a:r>
            <a:endPara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E9F4E85-7AAC-0348-A4F6-EFD6325F68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637" y="1059349"/>
            <a:ext cx="4252829" cy="2028488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83A8BA47-DAED-F44D-A016-DA57472C0280}"/>
              </a:ext>
            </a:extLst>
          </p:cNvPr>
          <p:cNvSpPr/>
          <p:nvPr/>
        </p:nvSpPr>
        <p:spPr>
          <a:xfrm>
            <a:off x="222637" y="3545392"/>
            <a:ext cx="4252829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" altLang="zh-C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GR</a:t>
            </a:r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是一个</a:t>
            </a:r>
            <a:r>
              <a:rPr lang="en" altLang="zh-C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 Operator</a:t>
            </a:r>
            <a:r>
              <a:rPr lang="zh-CN" altLang="e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能够以</a:t>
            </a:r>
            <a:r>
              <a:rPr lang="en" altLang="zh-C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 CRD</a:t>
            </a:r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形式定义全链路灰度发布的规则描述。基于声明式</a:t>
            </a:r>
            <a:r>
              <a:rPr lang="en" altLang="zh-C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RD</a:t>
            </a:r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会自动生成一整套灰度实例，不单单是部署实例级别的隔离，还包含基于</a:t>
            </a:r>
            <a:r>
              <a:rPr lang="en" altLang="zh-CN" sz="1080" dirty="0" err="1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Mesh</a:t>
            </a:r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流量隔离。</a:t>
            </a:r>
            <a:endParaRPr lang="zh-CN" altLang="en-US" sz="108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F0DE5F5-4029-594D-A195-6EFAD53E34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805" y="1257881"/>
            <a:ext cx="4399682" cy="1829956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A6A7EB36-F092-9142-A855-C4DDFA2F1957}"/>
              </a:ext>
            </a:extLst>
          </p:cNvPr>
          <p:cNvSpPr/>
          <p:nvPr/>
        </p:nvSpPr>
        <p:spPr>
          <a:xfrm>
            <a:off x="4644805" y="3545391"/>
            <a:ext cx="439272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同的分支对应着不同的</a:t>
            </a:r>
            <a:r>
              <a:rPr lang="en" altLang="zh-C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eature</a:t>
            </a:r>
          </a:p>
          <a:p>
            <a:pPr algn="l"/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过流量染色</a:t>
            </a:r>
            <a:r>
              <a:rPr lang="en-US" altLang="zh-CN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r>
              <a:rPr lang="zh-CN" altLang="en-US" sz="1080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量规则路由的方式，使得不同分支拥有逻辑上隔离的环境</a:t>
            </a:r>
          </a:p>
        </p:txBody>
      </p:sp>
      <p:pic>
        <p:nvPicPr>
          <p:cNvPr id="11" name="Picture 2" descr="C:\Users\wumin\Desktop\++3.png">
            <a:extLst>
              <a:ext uri="{FF2B5EF4-FFF2-40B4-BE49-F238E27FC236}">
                <a16:creationId xmlns:a16="http://schemas.microsoft.com/office/drawing/2014/main" id="{B76BBCC6-7915-544F-B0F6-901102C176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2" name="标题 1">
            <a:extLst>
              <a:ext uri="{FF2B5EF4-FFF2-40B4-BE49-F238E27FC236}">
                <a16:creationId xmlns:a16="http://schemas.microsoft.com/office/drawing/2014/main" id="{BA61C45D-774E-634A-B7E9-879551727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017" y="533062"/>
            <a:ext cx="3648455" cy="262466"/>
          </a:xfrm>
        </p:spPr>
        <p:txBody>
          <a:bodyPr>
            <a:normAutofit/>
          </a:bodyPr>
          <a:lstStyle/>
          <a:p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"/>
              </a:rPr>
              <a:t>全链路灰度方案：低成本的实现多套逻辑隔离环境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5521811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0C62B45-8813-6F49-B446-D568E557F3DF}"/>
              </a:ext>
            </a:extLst>
          </p:cNvPr>
          <p:cNvSpPr/>
          <p:nvPr/>
        </p:nvSpPr>
        <p:spPr>
          <a:xfrm>
            <a:off x="105151" y="30852"/>
            <a:ext cx="72860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I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测试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基于全链路灰度环境的流量</a:t>
            </a:r>
            <a:r>
              <a:rPr kumimoji="1"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IFF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回归</a:t>
            </a:r>
            <a:endParaRPr lang="zh-CN" alt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D64F2D0-9F38-664F-BEDE-CB3094482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8" y="1182845"/>
            <a:ext cx="5476115" cy="192254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AB8A544-3A1B-5846-9FF9-571337467143}"/>
              </a:ext>
            </a:extLst>
          </p:cNvPr>
          <p:cNvSpPr txBox="1"/>
          <p:nvPr/>
        </p:nvSpPr>
        <p:spPr>
          <a:xfrm>
            <a:off x="105151" y="3319271"/>
            <a:ext cx="4227192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4305" indent="-154305">
              <a:buFont typeface="Wingdings" pitchFamily="2" charset="2"/>
              <a:buChar char="ü"/>
            </a:pPr>
            <a:r>
              <a:rPr kumimoji="1"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基于流量回放的接口</a:t>
            </a:r>
            <a:r>
              <a:rPr kumimoji="1" lang="en-US" altLang="zh-CN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iff</a:t>
            </a:r>
            <a:r>
              <a:rPr kumimoji="1"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最大限度的覆盖线上用户真实场景</a:t>
            </a:r>
            <a:endParaRPr kumimoji="1" lang="en-US" altLang="zh-CN" sz="108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54305" indent="-154305">
              <a:buFont typeface="Wingdings" pitchFamily="2" charset="2"/>
              <a:buChar char="ü"/>
            </a:pPr>
            <a:r>
              <a:rPr kumimoji="1"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全流程自动化，无人工参与</a:t>
            </a:r>
            <a:endParaRPr kumimoji="1" lang="en-US" altLang="zh-CN" sz="108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54305" indent="-154305">
              <a:buFont typeface="Wingdings" pitchFamily="2" charset="2"/>
              <a:buChar char="ü"/>
            </a:pPr>
            <a:r>
              <a:rPr kumimoji="1"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配置化的流量筛选策略和</a:t>
            </a:r>
            <a:r>
              <a:rPr kumimoji="1" lang="en-US" altLang="zh-CN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iff</a:t>
            </a:r>
            <a:r>
              <a:rPr kumimoji="1"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策略接入，便于扩展优化</a:t>
            </a:r>
            <a:endParaRPr kumimoji="1" lang="en-US" altLang="zh-CN" sz="108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54305" indent="-154305">
              <a:buFont typeface="Wingdings" pitchFamily="2" charset="2"/>
              <a:buChar char="ü"/>
            </a:pPr>
            <a:r>
              <a:rPr kumimoji="1"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布式任务运行，支持大批量并发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EB5192F-1BA3-BF4A-9337-EC4BF28828E1}"/>
              </a:ext>
            </a:extLst>
          </p:cNvPr>
          <p:cNvSpPr txBox="1"/>
          <p:nvPr/>
        </p:nvSpPr>
        <p:spPr>
          <a:xfrm>
            <a:off x="105151" y="737840"/>
            <a:ext cx="8932376" cy="2311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2146" tIns="32146" rIns="32146" bIns="32146" numCol="1" spcCol="38100" rtlCol="0" anchor="ctr">
            <a:spAutoFit/>
          </a:bodyPr>
          <a:lstStyle/>
          <a:p>
            <a:pPr defTabSz="369688" hangingPunct="0"/>
            <a:r>
              <a:rPr lang="zh-CN" altLang="en-US" sz="108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"/>
              </a:rPr>
              <a:t>流量</a:t>
            </a:r>
            <a:r>
              <a:rPr lang="en-US" altLang="zh-CN" sz="108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"/>
              </a:rPr>
              <a:t>DIFF</a:t>
            </a:r>
            <a:r>
              <a:rPr lang="zh-CN" altLang="en-US" sz="108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化：</a:t>
            </a:r>
            <a:r>
              <a:rPr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同一流量在不同链路环境回放，并对结果</a:t>
            </a:r>
            <a:r>
              <a:rPr lang="en-US" altLang="zh-CN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iff</a:t>
            </a:r>
            <a:r>
              <a:rPr lang="zh-CN" altLang="en-US" sz="108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来进行回归测试</a:t>
            </a:r>
            <a:endParaRPr lang="zh-CN" altLang="en-US" sz="108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Helvetica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CB24169-6105-724A-83BF-384007DFB496}"/>
              </a:ext>
            </a:extLst>
          </p:cNvPr>
          <p:cNvSpPr/>
          <p:nvPr/>
        </p:nvSpPr>
        <p:spPr>
          <a:xfrm>
            <a:off x="105151" y="1049529"/>
            <a:ext cx="460382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8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方案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338F452-3A55-2A44-BD6D-F7F1F9179B84}"/>
              </a:ext>
            </a:extLst>
          </p:cNvPr>
          <p:cNvSpPr/>
          <p:nvPr/>
        </p:nvSpPr>
        <p:spPr>
          <a:xfrm>
            <a:off x="5473685" y="1048237"/>
            <a:ext cx="460382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8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效果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71D29F4-831A-6C44-A810-42A56E72E9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005" y="1496538"/>
            <a:ext cx="3642522" cy="151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43651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564BC96-69A8-8240-BFE5-D7DDAA54FB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833" y="813816"/>
            <a:ext cx="8301531" cy="4200482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F2A82536-6BDD-FC42-9AA9-08B07A2D36B6}"/>
              </a:ext>
            </a:extLst>
          </p:cNvPr>
          <p:cNvSpPr/>
          <p:nvPr/>
        </p:nvSpPr>
        <p:spPr>
          <a:xfrm>
            <a:off x="96007" y="149724"/>
            <a:ext cx="72860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化容量评估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—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全流程示意</a:t>
            </a:r>
          </a:p>
        </p:txBody>
      </p:sp>
    </p:spTree>
    <p:extLst>
      <p:ext uri="{BB962C8B-B14F-4D97-AF65-F5344CB8AC3E}">
        <p14:creationId xmlns:p14="http://schemas.microsoft.com/office/powerpoint/2010/main" val="327642603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61492271-C45F-7048-A2C4-7A322A8BD6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60" y="368236"/>
            <a:ext cx="7056670" cy="4775264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C9B4A577-5DCF-DD4B-90B1-6DF4805888D1}"/>
              </a:ext>
            </a:extLst>
          </p:cNvPr>
          <p:cNvSpPr/>
          <p:nvPr/>
        </p:nvSpPr>
        <p:spPr>
          <a:xfrm>
            <a:off x="0" y="0"/>
            <a:ext cx="72860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化容量评估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框架图</a:t>
            </a:r>
          </a:p>
        </p:txBody>
      </p:sp>
    </p:spTree>
    <p:extLst>
      <p:ext uri="{BB962C8B-B14F-4D97-AF65-F5344CB8AC3E}">
        <p14:creationId xmlns:p14="http://schemas.microsoft.com/office/powerpoint/2010/main" val="1441846429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D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多平台的部署与发布引擎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43" name="图片 342">
            <a:extLst>
              <a:ext uri="{FF2B5EF4-FFF2-40B4-BE49-F238E27FC236}">
                <a16:creationId xmlns:a16="http://schemas.microsoft.com/office/drawing/2014/main" id="{7C3AA629-2D11-0B4C-AE50-E61F55E72B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527" y="548305"/>
            <a:ext cx="6544238" cy="4046220"/>
          </a:xfrm>
          <a:prstGeom prst="rect">
            <a:avLst/>
          </a:prstGeom>
        </p:spPr>
      </p:pic>
      <p:sp>
        <p:nvSpPr>
          <p:cNvPr id="344" name="文本框 343">
            <a:extLst>
              <a:ext uri="{FF2B5EF4-FFF2-40B4-BE49-F238E27FC236}">
                <a16:creationId xmlns:a16="http://schemas.microsoft.com/office/drawing/2014/main" id="{59DFA1A2-BA71-F941-BE04-E205706B0C1D}"/>
              </a:ext>
            </a:extLst>
          </p:cNvPr>
          <p:cNvSpPr txBox="1"/>
          <p:nvPr/>
        </p:nvSpPr>
        <p:spPr>
          <a:xfrm>
            <a:off x="7000305" y="1194685"/>
            <a:ext cx="2033967" cy="168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点：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缝集成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ICD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实现高度标准化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发布完成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种部署策略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5" name="文本框 344">
            <a:extLst>
              <a:ext uri="{FF2B5EF4-FFF2-40B4-BE49-F238E27FC236}">
                <a16:creationId xmlns:a16="http://schemas.microsoft.com/office/drawing/2014/main" id="{04995251-75C9-6148-8D38-23541911EB40}"/>
              </a:ext>
            </a:extLst>
          </p:cNvPr>
          <p:cNvSpPr txBox="1"/>
          <p:nvPr/>
        </p:nvSpPr>
        <p:spPr>
          <a:xfrm>
            <a:off x="7011336" y="548305"/>
            <a:ext cx="1922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云原生构建多平台的部署与发布引擎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622501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D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发布剧本生成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18E11F3-1C04-614D-ADB0-AF35EEFA65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724937"/>
            <a:ext cx="9144000" cy="349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498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D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一键发布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5C36AC1-E6BD-1144-BCAD-6EF310C8AF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382" y="552701"/>
            <a:ext cx="4361193" cy="3945306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DDF5886-01BE-B745-A6F7-BE74540452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3659" y="552701"/>
            <a:ext cx="4398506" cy="3863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0552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机器人工具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44355FF-287B-7242-B8CD-FBEA85F50B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589" y="713232"/>
            <a:ext cx="5316548" cy="3067812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AE5104E6-BB52-BF4D-B884-771E43029126}"/>
              </a:ext>
            </a:extLst>
          </p:cNvPr>
          <p:cNvSpPr txBox="1"/>
          <p:nvPr/>
        </p:nvSpPr>
        <p:spPr>
          <a:xfrm>
            <a:off x="6108192" y="658368"/>
            <a:ext cx="26334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建设如流机器人秘书，及时提醒团队待办事项：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流程提醒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上线过程通报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待办处理问题通报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异常提醒</a:t>
            </a: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23161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持续交付整体方案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45BE56B1-91C5-464D-A2E5-2BB18A12F9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295" y="702056"/>
            <a:ext cx="8474297" cy="38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7405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10365086-6E50-2A4D-896C-04DA0ADAC1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7095"/>
            <a:ext cx="9144000" cy="5006405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86AB803E-C238-6348-A358-31C1EDE10CEE}"/>
              </a:ext>
            </a:extLst>
          </p:cNvPr>
          <p:cNvSpPr/>
          <p:nvPr/>
        </p:nvSpPr>
        <p:spPr>
          <a:xfrm>
            <a:off x="4151376" y="4643473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1200" dirty="0">
                <a:hlinkClick r:id="rId3"/>
              </a:rPr>
              <a:t>http://wiki.baidu.com/pages/viewpage.action?pageId=1398409950</a:t>
            </a:r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3440723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3F9109A-B19C-1140-B6E1-94EAD1030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178"/>
            <a:ext cx="9144000" cy="495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44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标题 1"/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业务需求管理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CF24D54-F538-2748-8162-635A8C21F00B}"/>
              </a:ext>
            </a:extLst>
          </p:cNvPr>
          <p:cNvSpPr txBox="1"/>
          <p:nvPr/>
        </p:nvSpPr>
        <p:spPr>
          <a:xfrm>
            <a:off x="147076" y="654930"/>
            <a:ext cx="8915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标：</a:t>
            </a:r>
            <a:r>
              <a:rPr kumimoji="1"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以实现客户价值为目标，</a:t>
            </a:r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制定一套合理的需求管理规范，实现需求管理的高价值、条理清晰、适应变化</a:t>
            </a:r>
            <a:endParaRPr kumimoji="1" lang="en-US" altLang="zh-CN" sz="135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3" name="图示 2">
            <a:extLst>
              <a:ext uri="{FF2B5EF4-FFF2-40B4-BE49-F238E27FC236}">
                <a16:creationId xmlns:a16="http://schemas.microsoft.com/office/drawing/2014/main" id="{C1286A1A-DBD1-204B-BE83-FE12E224EC57}"/>
              </a:ext>
            </a:extLst>
          </p:cNvPr>
          <p:cNvGraphicFramePr/>
          <p:nvPr>
            <p:extLst/>
          </p:nvPr>
        </p:nvGraphicFramePr>
        <p:xfrm>
          <a:off x="1539429" y="79682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2" descr="C:\Users\wumin\Desktop\++3.png">
            <a:extLst>
              <a:ext uri="{FF2B5EF4-FFF2-40B4-BE49-F238E27FC236}">
                <a16:creationId xmlns:a16="http://schemas.microsoft.com/office/drawing/2014/main" id="{85EC6EE5-3879-7145-97AC-034FDF41F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4922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标题 1"/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价值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E2BC850-BFF4-F746-A132-A17A7F9E9C9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27888" y="1015238"/>
          <a:ext cx="8150352" cy="2528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792">
                  <a:extLst>
                    <a:ext uri="{9D8B030D-6E8A-4147-A177-3AD203B41FA5}">
                      <a16:colId xmlns:a16="http://schemas.microsoft.com/office/drawing/2014/main" val="1397040498"/>
                    </a:ext>
                  </a:extLst>
                </a:gridCol>
                <a:gridCol w="5641848">
                  <a:extLst>
                    <a:ext uri="{9D8B030D-6E8A-4147-A177-3AD203B41FA5}">
                      <a16:colId xmlns:a16="http://schemas.microsoft.com/office/drawing/2014/main" val="3603386339"/>
                    </a:ext>
                  </a:extLst>
                </a:gridCol>
                <a:gridCol w="1124712">
                  <a:extLst>
                    <a:ext uri="{9D8B030D-6E8A-4147-A177-3AD203B41FA5}">
                      <a16:colId xmlns:a16="http://schemas.microsoft.com/office/drawing/2014/main" val="2470657096"/>
                    </a:ext>
                  </a:extLst>
                </a:gridCol>
              </a:tblGrid>
              <a:tr h="385530">
                <a:tc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说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负责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6420609"/>
                  </a:ext>
                </a:extLst>
              </a:tr>
              <a:tr h="385530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产品价值一页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说明整个产品可以给用户提供什么核心价值，为用户带来哪些方面的核心收益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M</a:t>
                      </a: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leader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5740709"/>
                  </a:ext>
                </a:extLst>
              </a:tr>
              <a:tr h="385530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季度一页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各敏捷小组在季度初指定的本季度核心业务目标，包含衡量指标以及通过什么事项来达成指标和预计的里程碑事件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各小组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M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697437"/>
                  </a:ext>
                </a:extLst>
              </a:tr>
              <a:tr h="3855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迭代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uidance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全团队下次迭代需要达成的核心目标是什么，预计会有什么收益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M</a:t>
                      </a: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leader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441840"/>
                  </a:ext>
                </a:extLst>
              </a:tr>
              <a:tr h="385530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lan1</a:t>
                      </a: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lan2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两次的需求拉齐会议，评估下个迭代需要完成的具体需求内容、资源、并完成各团队间需求握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各小组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M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555594"/>
                  </a:ext>
                </a:extLst>
              </a:tr>
              <a:tr h="385530">
                <a:tc>
                  <a:txBody>
                    <a:bodyPr/>
                    <a:lstStyle/>
                    <a:p>
                      <a:r>
                        <a:rPr lang="en-US" altLang="zh-CN" sz="1200" dirty="0" err="1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how&amp;tell</a:t>
                      </a: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展示最近两个迭代的核心产出和实际核心指标变化情况，对于未达标情况进行分析和优化方案制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各小组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M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216641"/>
                  </a:ext>
                </a:extLst>
              </a:tr>
            </a:tbl>
          </a:graphicData>
        </a:graphic>
      </p:graphicFrame>
      <p:pic>
        <p:nvPicPr>
          <p:cNvPr id="5" name="Picture 2" descr="C:\Users\wumin\Desktop\++3.png">
            <a:extLst>
              <a:ext uri="{FF2B5EF4-FFF2-40B4-BE49-F238E27FC236}">
                <a16:creationId xmlns:a16="http://schemas.microsoft.com/office/drawing/2014/main" id="{41745382-0C03-4F49-B495-F76185AF0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90582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/>
          <p:cNvSpPr>
            <a:spLocks noGrp="1"/>
          </p:cNvSpPr>
          <p:nvPr>
            <p:ph type="title"/>
          </p:nvPr>
        </p:nvSpPr>
        <p:spPr>
          <a:xfrm>
            <a:off x="254724" y="118392"/>
            <a:ext cx="8342693" cy="367193"/>
          </a:xfrm>
        </p:spPr>
        <p:txBody>
          <a:bodyPr anchor="b">
            <a:noAutofit/>
          </a:bodyPr>
          <a:lstStyle/>
          <a:p>
            <a:r>
              <a:rPr lang="zh-CN" altLang="en-US" sz="1800" b="0" dirty="0">
                <a:solidFill>
                  <a:schemeClr val="tx1"/>
                </a:solidFill>
                <a:cs typeface="Arial" pitchFamily="34" charset="0"/>
              </a:rPr>
              <a:t>条理清晰</a:t>
            </a:r>
            <a:r>
              <a:rPr lang="en-US" altLang="zh-CN" sz="1800" b="0" dirty="0">
                <a:solidFill>
                  <a:schemeClr val="tx1"/>
                </a:solidFill>
                <a:cs typeface="Arial" pitchFamily="34" charset="0"/>
              </a:rPr>
              <a:t>-</a:t>
            </a:r>
            <a:r>
              <a:rPr lang="zh-CN" altLang="en-US" sz="1800" b="0" dirty="0">
                <a:solidFill>
                  <a:schemeClr val="tx1"/>
                </a:solidFill>
                <a:cs typeface="Arial" pitchFamily="34" charset="0"/>
              </a:rPr>
              <a:t>卡片层级划分</a:t>
            </a: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/>
          </p:nvPr>
        </p:nvGraphicFramePr>
        <p:xfrm>
          <a:off x="463109" y="885404"/>
          <a:ext cx="8134308" cy="2908763"/>
        </p:xfrm>
        <a:graphic>
          <a:graphicData uri="http://schemas.openxmlformats.org/drawingml/2006/table">
            <a:tbl>
              <a:tblPr/>
              <a:tblGrid>
                <a:gridCol w="10128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214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504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Epic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Epic 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中文通常翻译为史诗，可以是重大的业务方向，也可以是重大的技术改造 。通常持续数月（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months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），需要多个迭代才能完成最终的交付。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Epi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应该对所有研发人员可见，这样可以让研发人员了解他们交付的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承载怎样的战略举措，让研发人员能更好的理解其工作的价值。 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Epi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通常和公司的经营、竞争力、市场环境紧密相关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386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Feature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Feature 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中文通常翻译为特性，代表可以给客户带来价值的产品功能或特性。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Feature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向上承接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Epi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，向下分解为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User Story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。相比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Epi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，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Feature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更具体形象，客户可以直接感知，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Feature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一般持续数个迭代。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181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 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中文通常翻译为用户故事，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User Story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的简称。是从用户角度对产品需求的详细描述，更小粒度的功能。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承接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Feature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，并放入有优先级的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backlog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中，持续规划、滚动调整优先级，始终让高优先级的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更早的交付给客户。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通常持续数天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days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），并应在一个迭代内完成交付。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590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task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Task 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在迭代计划会议中，将纳入迭代的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Story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指派给具体成员，并分解成一个或多个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Task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，填写“预计工时”。 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Task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  <a:ea typeface="微软雅黑"/>
                          <a:cs typeface="微软雅黑"/>
                        </a:rPr>
                        <a:t>通常为过程性的工作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463109" y="485585"/>
            <a:ext cx="1972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>
                <a:latin typeface="微软雅黑"/>
                <a:ea typeface="微软雅黑"/>
                <a:cs typeface="微软雅黑"/>
              </a:rPr>
              <a:t>几个基本概念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63108" y="4039801"/>
            <a:ext cx="7192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Epic</a:t>
            </a:r>
            <a:r>
              <a:rPr kumimoji="1" lang="zh-CN" altLang="en-US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、</a:t>
            </a:r>
            <a:r>
              <a:rPr kumimoji="1" lang="en-US" altLang="zh-CN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Feature</a:t>
            </a:r>
            <a:r>
              <a:rPr kumimoji="1" lang="zh-CN" altLang="en-US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由 </a:t>
            </a:r>
            <a:r>
              <a:rPr kumimoji="1" lang="en-US" altLang="zh-CN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PM</a:t>
            </a:r>
            <a:r>
              <a:rPr kumimoji="1" lang="zh-CN" altLang="en-US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 拆分，</a:t>
            </a:r>
            <a:r>
              <a:rPr kumimoji="1" lang="en-US" altLang="zh-CN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Story</a:t>
            </a:r>
            <a:r>
              <a:rPr kumimoji="1" lang="zh-CN" altLang="en-US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 由全团队共同拆分，</a:t>
            </a:r>
            <a:r>
              <a:rPr kumimoji="1" lang="en-US" altLang="zh-CN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task</a:t>
            </a:r>
            <a:r>
              <a:rPr kumimoji="1" lang="zh-CN" altLang="en-US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 由 </a:t>
            </a:r>
            <a:r>
              <a:rPr kumimoji="1" lang="en-US" altLang="zh-CN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RD</a:t>
            </a:r>
            <a:r>
              <a:rPr kumimoji="1" lang="zh-CN" altLang="en-US" sz="1400" dirty="0">
                <a:solidFill>
                  <a:srgbClr val="0000FF"/>
                </a:solidFill>
                <a:latin typeface="微软雅黑"/>
                <a:ea typeface="微软雅黑"/>
                <a:cs typeface="微软雅黑"/>
              </a:rPr>
              <a:t>拆分</a:t>
            </a:r>
          </a:p>
        </p:txBody>
      </p:sp>
      <p:pic>
        <p:nvPicPr>
          <p:cNvPr id="8" name="Picture 2" descr="C:\Users\wumin\Desktop\++3.png">
            <a:extLst>
              <a:ext uri="{FF2B5EF4-FFF2-40B4-BE49-F238E27FC236}">
                <a16:creationId xmlns:a16="http://schemas.microsoft.com/office/drawing/2014/main" id="{2412DAFA-C6CF-4E42-96EF-430CC74DF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3171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字化度量驱动团队提升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97DD293-3918-C342-8280-6DDCBBF4D2EE}"/>
              </a:ext>
            </a:extLst>
          </p:cNvPr>
          <p:cNvGrpSpPr/>
          <p:nvPr/>
        </p:nvGrpSpPr>
        <p:grpSpPr>
          <a:xfrm>
            <a:off x="152183" y="437541"/>
            <a:ext cx="8836369" cy="4088739"/>
            <a:chOff x="24167" y="422817"/>
            <a:chExt cx="9119833" cy="5143200"/>
          </a:xfrm>
        </p:grpSpPr>
        <p:sp>
          <p:nvSpPr>
            <p:cNvPr id="6" name="圆角矩形 5">
              <a:extLst>
                <a:ext uri="{FF2B5EF4-FFF2-40B4-BE49-F238E27FC236}">
                  <a16:creationId xmlns:a16="http://schemas.microsoft.com/office/drawing/2014/main" id="{2163C149-4A27-7240-807D-06E25D65D0CE}"/>
                </a:ext>
              </a:extLst>
            </p:cNvPr>
            <p:cNvSpPr/>
            <p:nvPr/>
          </p:nvSpPr>
          <p:spPr>
            <a:xfrm>
              <a:off x="2969222" y="1019722"/>
              <a:ext cx="3039311" cy="1096776"/>
            </a:xfrm>
            <a:prstGeom prst="roundRect">
              <a:avLst/>
            </a:prstGeom>
            <a:solidFill>
              <a:srgbClr val="FFFFFF"/>
            </a:solidFill>
            <a:ln w="9525" cmpd="sng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16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FE88B890-0E0A-C140-9AA1-AF9F8606EF06}"/>
                </a:ext>
              </a:extLst>
            </p:cNvPr>
            <p:cNvSpPr txBox="1"/>
            <p:nvPr/>
          </p:nvSpPr>
          <p:spPr>
            <a:xfrm>
              <a:off x="3526433" y="1089080"/>
              <a:ext cx="749713" cy="30777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分析</a:t>
              </a: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E348518B-5C04-2A4A-90FA-332CA3C59DC3}"/>
                </a:ext>
              </a:extLst>
            </p:cNvPr>
            <p:cNvSpPr txBox="1"/>
            <p:nvPr/>
          </p:nvSpPr>
          <p:spPr>
            <a:xfrm>
              <a:off x="107503" y="422817"/>
              <a:ext cx="2746075" cy="317633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67190" tIns="33595" rIns="67190" bIns="33595" rtlCol="0">
              <a:spAutoFit/>
            </a:bodyPr>
            <a:lstStyle/>
            <a:p>
              <a:pPr algn="ctr"/>
              <a:r>
                <a:rPr kumimoji="1" lang="zh-CN" altLang="en-US" sz="1200" dirty="0">
                  <a:solidFill>
                    <a:schemeClr val="bg1"/>
                  </a:solidFill>
                  <a:latin typeface="微软雅黑"/>
                  <a:ea typeface="微软雅黑"/>
                  <a:cs typeface="微软雅黑"/>
                </a:rPr>
                <a:t>目标度量：</a:t>
              </a:r>
              <a:r>
                <a:rPr kumimoji="1" lang="en-US" altLang="zh-CN" sz="1200" dirty="0" err="1">
                  <a:solidFill>
                    <a:schemeClr val="bg1"/>
                  </a:solidFill>
                  <a:latin typeface="微软雅黑"/>
                  <a:ea typeface="微软雅黑"/>
                  <a:cs typeface="微软雅黑"/>
                </a:rPr>
                <a:t>ScrumTeam</a:t>
              </a:r>
              <a:r>
                <a:rPr kumimoji="1" lang="zh-CN" altLang="en-US" sz="1200" dirty="0">
                  <a:solidFill>
                    <a:schemeClr val="bg1"/>
                  </a:solidFill>
                  <a:latin typeface="微软雅黑"/>
                  <a:ea typeface="微软雅黑"/>
                  <a:cs typeface="微软雅黑"/>
                </a:rPr>
                <a:t> 现状 </a:t>
              </a: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EE5600BB-D866-FB4D-BCAA-43DCB5784CDA}"/>
                </a:ext>
              </a:extLst>
            </p:cNvPr>
            <p:cNvSpPr txBox="1"/>
            <p:nvPr/>
          </p:nvSpPr>
          <p:spPr>
            <a:xfrm>
              <a:off x="2889136" y="422817"/>
              <a:ext cx="3185888" cy="317633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67190" tIns="33595" rIns="67190" bIns="33595" rtlCol="0">
              <a:spAutoFit/>
            </a:bodyPr>
            <a:lstStyle/>
            <a:p>
              <a:pPr algn="ctr"/>
              <a:r>
                <a:rPr kumimoji="1" lang="zh-CN" altLang="en-US" sz="1200" dirty="0">
                  <a:solidFill>
                    <a:schemeClr val="bg1"/>
                  </a:solidFill>
                  <a:latin typeface="微软雅黑"/>
                  <a:ea typeface="微软雅黑"/>
                  <a:cs typeface="微软雅黑"/>
                </a:rPr>
                <a:t>精细化：问题挖掘         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A79F6549-C1E9-AF4D-B7CF-1D9B768C1831}"/>
                </a:ext>
              </a:extLst>
            </p:cNvPr>
            <p:cNvSpPr txBox="1"/>
            <p:nvPr/>
          </p:nvSpPr>
          <p:spPr>
            <a:xfrm>
              <a:off x="6155110" y="422817"/>
              <a:ext cx="2802978" cy="317633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67190" tIns="33595" rIns="67190" bIns="33595" rtlCol="0">
              <a:spAutoFit/>
            </a:bodyPr>
            <a:lstStyle/>
            <a:p>
              <a:pPr algn="ctr"/>
              <a:r>
                <a:rPr kumimoji="1" lang="zh-CN" altLang="en-US" sz="1200" dirty="0">
                  <a:solidFill>
                    <a:schemeClr val="bg1"/>
                  </a:solidFill>
                  <a:latin typeface="微软雅黑"/>
                  <a:ea typeface="微软雅黑"/>
                  <a:cs typeface="微软雅黑"/>
                </a:rPr>
                <a:t>自动任务：问题闭环 </a:t>
              </a:r>
            </a:p>
          </p:txBody>
        </p:sp>
        <p:cxnSp>
          <p:nvCxnSpPr>
            <p:cNvPr id="11" name="直线连接符 10">
              <a:extLst>
                <a:ext uri="{FF2B5EF4-FFF2-40B4-BE49-F238E27FC236}">
                  <a16:creationId xmlns:a16="http://schemas.microsoft.com/office/drawing/2014/main" id="{7559CD16-257A-114B-957B-B9EDFA40D35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5671" y="858637"/>
              <a:ext cx="23705" cy="470738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B97028C1-D6CA-7C47-B5CE-FB3D64E4EAD0}"/>
                </a:ext>
              </a:extLst>
            </p:cNvPr>
            <p:cNvSpPr txBox="1"/>
            <p:nvPr/>
          </p:nvSpPr>
          <p:spPr>
            <a:xfrm>
              <a:off x="187589" y="918497"/>
              <a:ext cx="23507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en-US" altLang="en-US" sz="1200" b="1" dirty="0">
                  <a:latin typeface="微软雅黑"/>
                  <a:ea typeface="微软雅黑"/>
                  <a:cs typeface="微软雅黑"/>
                </a:rPr>
                <a:t>目标指标</a:t>
              </a: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数据，牵引</a:t>
              </a:r>
              <a:r>
                <a:rPr kumimoji="1" lang="en-US" altLang="zh-CN" sz="1200" b="1" dirty="0">
                  <a:latin typeface="微软雅黑"/>
                  <a:ea typeface="微软雅黑"/>
                  <a:cs typeface="微软雅黑"/>
                </a:rPr>
                <a:t>team</a:t>
              </a: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 改进</a:t>
              </a:r>
            </a:p>
          </p:txBody>
        </p:sp>
        <p:graphicFrame>
          <p:nvGraphicFramePr>
            <p:cNvPr id="13" name="图表 28">
              <a:extLst>
                <a:ext uri="{FF2B5EF4-FFF2-40B4-BE49-F238E27FC236}">
                  <a16:creationId xmlns:a16="http://schemas.microsoft.com/office/drawing/2014/main" id="{B2E564E8-12F6-A74D-9CDF-D61F628F9E8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64546050"/>
                </p:ext>
              </p:extLst>
            </p:nvPr>
          </p:nvGraphicFramePr>
          <p:xfrm>
            <a:off x="79785" y="1268193"/>
            <a:ext cx="2773793" cy="15711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14" name="图表 29">
              <a:extLst>
                <a:ext uri="{FF2B5EF4-FFF2-40B4-BE49-F238E27FC236}">
                  <a16:creationId xmlns:a16="http://schemas.microsoft.com/office/drawing/2014/main" id="{D68171D9-880D-8746-88D3-9F28C7B9B52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50137956"/>
                </p:ext>
              </p:extLst>
            </p:nvPr>
          </p:nvGraphicFramePr>
          <p:xfrm>
            <a:off x="24167" y="2642909"/>
            <a:ext cx="2817970" cy="205106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54F94C1C-6969-DA44-9BC5-19C6CC69E48A}"/>
                </a:ext>
              </a:extLst>
            </p:cNvPr>
            <p:cNvSpPr txBox="1"/>
            <p:nvPr/>
          </p:nvSpPr>
          <p:spPr>
            <a:xfrm>
              <a:off x="107503" y="4799229"/>
              <a:ext cx="23507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迭代数据披露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7A877EB8-64BD-184F-9215-F81800577573}"/>
                </a:ext>
              </a:extLst>
            </p:cNvPr>
            <p:cNvSpPr txBox="1"/>
            <p:nvPr/>
          </p:nvSpPr>
          <p:spPr>
            <a:xfrm>
              <a:off x="187589" y="5126908"/>
              <a:ext cx="23507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en-US" altLang="zh-CN" sz="1200" b="1" dirty="0" err="1">
                  <a:latin typeface="微软雅黑"/>
                  <a:ea typeface="微软雅黑"/>
                  <a:cs typeface="微软雅黑"/>
                </a:rPr>
                <a:t>ScrumTeam</a:t>
              </a: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间数据</a:t>
              </a:r>
              <a:r>
                <a:rPr kumimoji="1" lang="en-US" altLang="zh-CN" sz="1200" b="1" dirty="0">
                  <a:latin typeface="微软雅黑"/>
                  <a:ea typeface="微软雅黑"/>
                  <a:cs typeface="微软雅黑"/>
                </a:rPr>
                <a:t> PK</a:t>
              </a:r>
              <a:endParaRPr kumimoji="1" lang="zh-CN" altLang="en-US" sz="1200" b="1" dirty="0"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A4E265A-50CF-4740-8431-A741AA7D6E00}"/>
                </a:ext>
              </a:extLst>
            </p:cNvPr>
            <p:cNvSpPr txBox="1"/>
            <p:nvPr/>
          </p:nvSpPr>
          <p:spPr>
            <a:xfrm>
              <a:off x="4014892" y="2236448"/>
              <a:ext cx="915258" cy="37126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过程数据</a:t>
              </a:r>
            </a:p>
          </p:txBody>
        </p:sp>
        <p:sp>
          <p:nvSpPr>
            <p:cNvPr id="18" name="圆角矩形 17">
              <a:extLst>
                <a:ext uri="{FF2B5EF4-FFF2-40B4-BE49-F238E27FC236}">
                  <a16:creationId xmlns:a16="http://schemas.microsoft.com/office/drawing/2014/main" id="{2AF21361-C6E5-C34B-9716-1920363BD080}"/>
                </a:ext>
              </a:extLst>
            </p:cNvPr>
            <p:cNvSpPr/>
            <p:nvPr/>
          </p:nvSpPr>
          <p:spPr>
            <a:xfrm>
              <a:off x="3003546" y="2839380"/>
              <a:ext cx="2993545" cy="39268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需求管理：异常、变更、分布、插入</a:t>
              </a:r>
            </a:p>
          </p:txBody>
        </p:sp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id="{94C22819-F0E6-F243-9973-7AB504811985}"/>
                </a:ext>
              </a:extLst>
            </p:cNvPr>
            <p:cNvSpPr/>
            <p:nvPr/>
          </p:nvSpPr>
          <p:spPr>
            <a:xfrm>
              <a:off x="3003546" y="3260644"/>
              <a:ext cx="2993545" cy="39268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自动化：覆盖率、稳定性、有效性、效率</a:t>
              </a:r>
            </a:p>
          </p:txBody>
        </p:sp>
        <p:sp>
          <p:nvSpPr>
            <p:cNvPr id="22" name="圆角矩形 21">
              <a:extLst>
                <a:ext uri="{FF2B5EF4-FFF2-40B4-BE49-F238E27FC236}">
                  <a16:creationId xmlns:a16="http://schemas.microsoft.com/office/drawing/2014/main" id="{2C303A84-6952-074F-99E6-A2395345F5F7}"/>
                </a:ext>
              </a:extLst>
            </p:cNvPr>
            <p:cNvSpPr/>
            <p:nvPr/>
          </p:nvSpPr>
          <p:spPr>
            <a:xfrm>
              <a:off x="3003546" y="3694821"/>
              <a:ext cx="2993545" cy="39268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环境：稳定性、问题修复时长、部署效率</a:t>
              </a:r>
            </a:p>
          </p:txBody>
        </p:sp>
        <p:sp>
          <p:nvSpPr>
            <p:cNvPr id="23" name="圆角矩形 22">
              <a:extLst>
                <a:ext uri="{FF2B5EF4-FFF2-40B4-BE49-F238E27FC236}">
                  <a16:creationId xmlns:a16="http://schemas.microsoft.com/office/drawing/2014/main" id="{F074F7A5-1AAC-E146-A7E0-5EF9E046C573}"/>
                </a:ext>
              </a:extLst>
            </p:cNvPr>
            <p:cNvSpPr/>
            <p:nvPr/>
          </p:nvSpPr>
          <p:spPr>
            <a:xfrm>
              <a:off x="3003546" y="4113880"/>
              <a:ext cx="2993545" cy="39268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流水线：配置规范、红灯情况、运行效率</a:t>
              </a:r>
            </a:p>
          </p:txBody>
        </p:sp>
        <p:sp>
          <p:nvSpPr>
            <p:cNvPr id="24" name="圆角矩形 23">
              <a:extLst>
                <a:ext uri="{FF2B5EF4-FFF2-40B4-BE49-F238E27FC236}">
                  <a16:creationId xmlns:a16="http://schemas.microsoft.com/office/drawing/2014/main" id="{8C0F3307-3B3B-BB4B-82E5-EAE30F7BA200}"/>
                </a:ext>
              </a:extLst>
            </p:cNvPr>
            <p:cNvSpPr/>
            <p:nvPr/>
          </p:nvSpPr>
          <p:spPr>
            <a:xfrm>
              <a:off x="3003546" y="4557123"/>
              <a:ext cx="2993545" cy="39268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监控：完备性、召回率、含金量、</a:t>
              </a:r>
              <a:r>
                <a:rPr kumimoji="1" lang="zh-CN" altLang="en-US" sz="11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自愈率</a:t>
              </a:r>
            </a:p>
          </p:txBody>
        </p:sp>
        <p:sp>
          <p:nvSpPr>
            <p:cNvPr id="25" name="圆角矩形 24">
              <a:extLst>
                <a:ext uri="{FF2B5EF4-FFF2-40B4-BE49-F238E27FC236}">
                  <a16:creationId xmlns:a16="http://schemas.microsoft.com/office/drawing/2014/main" id="{27263BB8-BB99-FC45-94CF-B82DB551C57C}"/>
                </a:ext>
              </a:extLst>
            </p:cNvPr>
            <p:cNvSpPr/>
            <p:nvPr/>
          </p:nvSpPr>
          <p:spPr>
            <a:xfrm>
              <a:off x="3014990" y="4999730"/>
              <a:ext cx="2980595" cy="39268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敏捷执行：代码、分支、上线、</a:t>
              </a:r>
              <a:r>
                <a:rPr kumimoji="1" lang="en-US" altLang="zh-CN" sz="1100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icafe</a:t>
              </a:r>
              <a:endParaRPr kumimoji="1" lang="zh-CN" altLang="en-US" sz="11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6" name="上箭头 25">
              <a:extLst>
                <a:ext uri="{FF2B5EF4-FFF2-40B4-BE49-F238E27FC236}">
                  <a16:creationId xmlns:a16="http://schemas.microsoft.com/office/drawing/2014/main" id="{A0F21844-7D46-004F-8F5B-618236748DF7}"/>
                </a:ext>
              </a:extLst>
            </p:cNvPr>
            <p:cNvSpPr/>
            <p:nvPr/>
          </p:nvSpPr>
          <p:spPr>
            <a:xfrm>
              <a:off x="4013680" y="2139548"/>
              <a:ext cx="961021" cy="131223"/>
            </a:xfrm>
            <a:prstGeom prst="upArrow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16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7" name="圆角矩形 26">
              <a:extLst>
                <a:ext uri="{FF2B5EF4-FFF2-40B4-BE49-F238E27FC236}">
                  <a16:creationId xmlns:a16="http://schemas.microsoft.com/office/drawing/2014/main" id="{4E74C375-786E-A24F-9BB0-FEE8F25EF2A3}"/>
                </a:ext>
              </a:extLst>
            </p:cNvPr>
            <p:cNvSpPr/>
            <p:nvPr/>
          </p:nvSpPr>
          <p:spPr>
            <a:xfrm>
              <a:off x="3083631" y="1437665"/>
              <a:ext cx="817659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效率分析</a:t>
              </a:r>
            </a:p>
          </p:txBody>
        </p:sp>
        <p:sp>
          <p:nvSpPr>
            <p:cNvPr id="28" name="圆角矩形 27">
              <a:extLst>
                <a:ext uri="{FF2B5EF4-FFF2-40B4-BE49-F238E27FC236}">
                  <a16:creationId xmlns:a16="http://schemas.microsoft.com/office/drawing/2014/main" id="{B5A84AA0-C632-1442-AE72-58E333A09E4A}"/>
                </a:ext>
              </a:extLst>
            </p:cNvPr>
            <p:cNvSpPr/>
            <p:nvPr/>
          </p:nvSpPr>
          <p:spPr>
            <a:xfrm>
              <a:off x="3969936" y="1449106"/>
              <a:ext cx="817659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质量分析</a:t>
              </a:r>
            </a:p>
          </p:txBody>
        </p:sp>
        <p:sp>
          <p:nvSpPr>
            <p:cNvPr id="29" name="圆角矩形 28">
              <a:extLst>
                <a:ext uri="{FF2B5EF4-FFF2-40B4-BE49-F238E27FC236}">
                  <a16:creationId xmlns:a16="http://schemas.microsoft.com/office/drawing/2014/main" id="{28A4CEF8-A1D1-0F45-A8E5-0798EBFAF034}"/>
                </a:ext>
              </a:extLst>
            </p:cNvPr>
            <p:cNvSpPr/>
            <p:nvPr/>
          </p:nvSpPr>
          <p:spPr>
            <a:xfrm>
              <a:off x="3083631" y="1809721"/>
              <a:ext cx="817659" cy="26669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需求分析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17F1667F-88F0-0845-81AB-513D3EB059CD}"/>
                </a:ext>
              </a:extLst>
            </p:cNvPr>
            <p:cNvSpPr txBox="1"/>
            <p:nvPr/>
          </p:nvSpPr>
          <p:spPr>
            <a:xfrm>
              <a:off x="5040280" y="1081248"/>
              <a:ext cx="749713" cy="30777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披露</a:t>
              </a:r>
            </a:p>
          </p:txBody>
        </p:sp>
        <p:sp>
          <p:nvSpPr>
            <p:cNvPr id="31" name="圆角矩形 30">
              <a:extLst>
                <a:ext uri="{FF2B5EF4-FFF2-40B4-BE49-F238E27FC236}">
                  <a16:creationId xmlns:a16="http://schemas.microsoft.com/office/drawing/2014/main" id="{DEB3A607-4EB7-7E4D-A13F-E939EEAE5CDB}"/>
                </a:ext>
              </a:extLst>
            </p:cNvPr>
            <p:cNvSpPr/>
            <p:nvPr/>
          </p:nvSpPr>
          <p:spPr>
            <a:xfrm>
              <a:off x="5040280" y="1449106"/>
              <a:ext cx="817659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异常报警</a:t>
              </a:r>
            </a:p>
          </p:txBody>
        </p:sp>
        <p:sp>
          <p:nvSpPr>
            <p:cNvPr id="32" name="圆角矩形 31">
              <a:extLst>
                <a:ext uri="{FF2B5EF4-FFF2-40B4-BE49-F238E27FC236}">
                  <a16:creationId xmlns:a16="http://schemas.microsoft.com/office/drawing/2014/main" id="{C66E815E-92A4-7F42-981B-F531F50A2E3C}"/>
                </a:ext>
              </a:extLst>
            </p:cNvPr>
            <p:cNvSpPr/>
            <p:nvPr/>
          </p:nvSpPr>
          <p:spPr>
            <a:xfrm>
              <a:off x="5040280" y="1799140"/>
              <a:ext cx="817659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团队榜单</a:t>
              </a:r>
            </a:p>
          </p:txBody>
        </p:sp>
        <p:sp>
          <p:nvSpPr>
            <p:cNvPr id="33" name="圆角矩形 32">
              <a:extLst>
                <a:ext uri="{FF2B5EF4-FFF2-40B4-BE49-F238E27FC236}">
                  <a16:creationId xmlns:a16="http://schemas.microsoft.com/office/drawing/2014/main" id="{CF7A550B-4C14-3141-9A44-4D580E7C331F}"/>
                </a:ext>
              </a:extLst>
            </p:cNvPr>
            <p:cNvSpPr/>
            <p:nvPr/>
          </p:nvSpPr>
          <p:spPr>
            <a:xfrm>
              <a:off x="3969936" y="1809721"/>
              <a:ext cx="817659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kumimoji="1" lang="zh-CN" altLang="en-US" sz="11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异常识别</a:t>
              </a:r>
            </a:p>
          </p:txBody>
        </p:sp>
        <p:sp>
          <p:nvSpPr>
            <p:cNvPr id="34" name="圆角矩形 33">
              <a:extLst>
                <a:ext uri="{FF2B5EF4-FFF2-40B4-BE49-F238E27FC236}">
                  <a16:creationId xmlns:a16="http://schemas.microsoft.com/office/drawing/2014/main" id="{9008F6F5-2D2A-6547-A990-4B9B5A5CF42A}"/>
                </a:ext>
              </a:extLst>
            </p:cNvPr>
            <p:cNvSpPr/>
            <p:nvPr/>
          </p:nvSpPr>
          <p:spPr>
            <a:xfrm>
              <a:off x="6738587" y="1081248"/>
              <a:ext cx="2322468" cy="836304"/>
            </a:xfrm>
            <a:prstGeom prst="roundRect">
              <a:avLst/>
            </a:prstGeom>
            <a:noFill/>
            <a:ln w="9525" cmpd="sng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16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58DC3018-208C-704D-BCCD-50E30A2E9DB6}"/>
                </a:ext>
              </a:extLst>
            </p:cNvPr>
            <p:cNvSpPr txBox="1"/>
            <p:nvPr/>
          </p:nvSpPr>
          <p:spPr>
            <a:xfrm>
              <a:off x="7051165" y="918497"/>
              <a:ext cx="1567372" cy="30777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异常信息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A7B1130D-9E65-2B44-9446-DAE1D665DF04}"/>
                </a:ext>
              </a:extLst>
            </p:cNvPr>
            <p:cNvSpPr txBox="1"/>
            <p:nvPr/>
          </p:nvSpPr>
          <p:spPr>
            <a:xfrm>
              <a:off x="3683922" y="833344"/>
              <a:ext cx="1567372" cy="34368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400" b="1" dirty="0">
                  <a:latin typeface="微软雅黑"/>
                  <a:ea typeface="微软雅黑"/>
                  <a:cs typeface="微软雅黑"/>
                </a:rPr>
                <a:t>问题分析</a:t>
              </a:r>
              <a:r>
                <a:rPr kumimoji="1" lang="en-US" altLang="zh-CN" sz="1400" b="1" dirty="0">
                  <a:latin typeface="微软雅黑"/>
                  <a:ea typeface="微软雅黑"/>
                  <a:cs typeface="微软雅黑"/>
                </a:rPr>
                <a:t>&amp;</a:t>
              </a:r>
              <a:r>
                <a:rPr kumimoji="1" lang="zh-CN" altLang="en-US" sz="1400" b="1" dirty="0">
                  <a:latin typeface="微软雅黑"/>
                  <a:ea typeface="微软雅黑"/>
                  <a:cs typeface="微软雅黑"/>
                </a:rPr>
                <a:t>披露</a:t>
              </a:r>
            </a:p>
          </p:txBody>
        </p:sp>
        <p:sp>
          <p:nvSpPr>
            <p:cNvPr id="37" name="下箭头 36">
              <a:extLst>
                <a:ext uri="{FF2B5EF4-FFF2-40B4-BE49-F238E27FC236}">
                  <a16:creationId xmlns:a16="http://schemas.microsoft.com/office/drawing/2014/main" id="{84C11B2D-022F-D948-8F50-D9CDBB88D321}"/>
                </a:ext>
              </a:extLst>
            </p:cNvPr>
            <p:cNvSpPr/>
            <p:nvPr/>
          </p:nvSpPr>
          <p:spPr>
            <a:xfrm>
              <a:off x="7051165" y="1967062"/>
              <a:ext cx="1570240" cy="183926"/>
            </a:xfrm>
            <a:prstGeom prst="downArrow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16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圆角矩形 37">
              <a:extLst>
                <a:ext uri="{FF2B5EF4-FFF2-40B4-BE49-F238E27FC236}">
                  <a16:creationId xmlns:a16="http://schemas.microsoft.com/office/drawing/2014/main" id="{ED590959-99A5-C947-9CA6-2142E0052183}"/>
                </a:ext>
              </a:extLst>
            </p:cNvPr>
            <p:cNvSpPr/>
            <p:nvPr/>
          </p:nvSpPr>
          <p:spPr>
            <a:xfrm>
              <a:off x="6738587" y="2395759"/>
              <a:ext cx="2276704" cy="836304"/>
            </a:xfrm>
            <a:prstGeom prst="roundRect">
              <a:avLst/>
            </a:prstGeom>
            <a:solidFill>
              <a:srgbClr val="FFFFFF"/>
            </a:solidFill>
            <a:ln w="9525" cmpd="sng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16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9" name="圆角矩形 38">
              <a:extLst>
                <a:ext uri="{FF2B5EF4-FFF2-40B4-BE49-F238E27FC236}">
                  <a16:creationId xmlns:a16="http://schemas.microsoft.com/office/drawing/2014/main" id="{0960E6E5-576A-134A-8992-4AA3764D34AF}"/>
                </a:ext>
              </a:extLst>
            </p:cNvPr>
            <p:cNvSpPr/>
            <p:nvPr/>
          </p:nvSpPr>
          <p:spPr>
            <a:xfrm>
              <a:off x="6250314" y="1088668"/>
              <a:ext cx="411867" cy="447734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6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OKR</a:t>
              </a:r>
              <a:r>
                <a:rPr kumimoji="1" lang="zh-CN" altLang="en-US" sz="16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协同</a:t>
              </a:r>
            </a:p>
          </p:txBody>
        </p:sp>
        <p:sp>
          <p:nvSpPr>
            <p:cNvPr id="40" name="圆角矩形 39">
              <a:extLst>
                <a:ext uri="{FF2B5EF4-FFF2-40B4-BE49-F238E27FC236}">
                  <a16:creationId xmlns:a16="http://schemas.microsoft.com/office/drawing/2014/main" id="{8508C867-AF6D-1A48-B923-C35D9FA6C8BF}"/>
                </a:ext>
              </a:extLst>
            </p:cNvPr>
            <p:cNvSpPr/>
            <p:nvPr/>
          </p:nvSpPr>
          <p:spPr>
            <a:xfrm>
              <a:off x="6863026" y="1290780"/>
              <a:ext cx="1214126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稳定性不达标</a:t>
              </a:r>
            </a:p>
          </p:txBody>
        </p:sp>
        <p:sp>
          <p:nvSpPr>
            <p:cNvPr id="41" name="圆角矩形 40">
              <a:extLst>
                <a:ext uri="{FF2B5EF4-FFF2-40B4-BE49-F238E27FC236}">
                  <a16:creationId xmlns:a16="http://schemas.microsoft.com/office/drawing/2014/main" id="{C1AF4D05-5199-5144-9695-398D6F7F4902}"/>
                </a:ext>
              </a:extLst>
            </p:cNvPr>
            <p:cNvSpPr/>
            <p:nvPr/>
          </p:nvSpPr>
          <p:spPr>
            <a:xfrm>
              <a:off x="6863026" y="1574755"/>
              <a:ext cx="1214126" cy="2820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覆盖不达标</a:t>
              </a:r>
            </a:p>
          </p:txBody>
        </p:sp>
        <p:sp>
          <p:nvSpPr>
            <p:cNvPr id="42" name="圆角矩形 41">
              <a:extLst>
                <a:ext uri="{FF2B5EF4-FFF2-40B4-BE49-F238E27FC236}">
                  <a16:creationId xmlns:a16="http://schemas.microsoft.com/office/drawing/2014/main" id="{0255BC52-5C5A-E940-BD24-AC1BDB323478}"/>
                </a:ext>
              </a:extLst>
            </p:cNvPr>
            <p:cNvSpPr/>
            <p:nvPr/>
          </p:nvSpPr>
          <p:spPr>
            <a:xfrm>
              <a:off x="8132304" y="1574755"/>
              <a:ext cx="880936" cy="2820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高危漏洞</a:t>
              </a:r>
            </a:p>
          </p:txBody>
        </p:sp>
        <p:sp>
          <p:nvSpPr>
            <p:cNvPr id="43" name="圆角矩形 42">
              <a:extLst>
                <a:ext uri="{FF2B5EF4-FFF2-40B4-BE49-F238E27FC236}">
                  <a16:creationId xmlns:a16="http://schemas.microsoft.com/office/drawing/2014/main" id="{B7D187EC-6F4B-124C-963E-32233813C5AD}"/>
                </a:ext>
              </a:extLst>
            </p:cNvPr>
            <p:cNvSpPr/>
            <p:nvPr/>
          </p:nvSpPr>
          <p:spPr>
            <a:xfrm>
              <a:off x="8132304" y="1275381"/>
              <a:ext cx="882987" cy="28209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配置异常</a:t>
              </a: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AA012EAE-F060-6541-AC12-5D4F6C519B5D}"/>
                </a:ext>
              </a:extLst>
            </p:cNvPr>
            <p:cNvSpPr txBox="1"/>
            <p:nvPr/>
          </p:nvSpPr>
          <p:spPr>
            <a:xfrm>
              <a:off x="7065474" y="2243291"/>
              <a:ext cx="1567372" cy="30777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kumimoji="1" lang="zh-CN" altLang="en-US" sz="1200" b="1" dirty="0">
                  <a:latin typeface="微软雅黑"/>
                  <a:ea typeface="微软雅黑"/>
                  <a:cs typeface="微软雅黑"/>
                </a:rPr>
                <a:t>自动创建</a:t>
              </a:r>
            </a:p>
          </p:txBody>
        </p:sp>
        <p:sp>
          <p:nvSpPr>
            <p:cNvPr id="45" name="圆角矩形 44">
              <a:extLst>
                <a:ext uri="{FF2B5EF4-FFF2-40B4-BE49-F238E27FC236}">
                  <a16:creationId xmlns:a16="http://schemas.microsoft.com/office/drawing/2014/main" id="{89E8F6E6-494B-3D4A-8096-91764A578554}"/>
                </a:ext>
              </a:extLst>
            </p:cNvPr>
            <p:cNvSpPr/>
            <p:nvPr/>
          </p:nvSpPr>
          <p:spPr>
            <a:xfrm>
              <a:off x="6851584" y="2580132"/>
              <a:ext cx="2106503" cy="25924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200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Icae</a:t>
              </a:r>
              <a:r>
                <a:rPr kumimoji="1" lang="zh-CN" altLang="en-US" sz="12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 卡片</a:t>
              </a:r>
            </a:p>
          </p:txBody>
        </p:sp>
        <p:sp>
          <p:nvSpPr>
            <p:cNvPr id="46" name="圆角矩形 45">
              <a:extLst>
                <a:ext uri="{FF2B5EF4-FFF2-40B4-BE49-F238E27FC236}">
                  <a16:creationId xmlns:a16="http://schemas.microsoft.com/office/drawing/2014/main" id="{50460F11-72F6-234C-922C-FCB88A75A2AC}"/>
                </a:ext>
              </a:extLst>
            </p:cNvPr>
            <p:cNvSpPr/>
            <p:nvPr/>
          </p:nvSpPr>
          <p:spPr>
            <a:xfrm>
              <a:off x="6851585" y="2898291"/>
              <a:ext cx="2106502" cy="2666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团队群通知</a:t>
              </a:r>
            </a:p>
          </p:txBody>
        </p:sp>
        <p:pic>
          <p:nvPicPr>
            <p:cNvPr id="47" name="图片 46">
              <a:extLst>
                <a:ext uri="{FF2B5EF4-FFF2-40B4-BE49-F238E27FC236}">
                  <a16:creationId xmlns:a16="http://schemas.microsoft.com/office/drawing/2014/main" id="{17D3F6AC-F2AC-8547-A2D4-B48F847965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696541" y="3375521"/>
              <a:ext cx="2447459" cy="12277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2040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选择合适的研发模式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8A2BA3B-E71E-5646-B0FD-BB8C795A55E6}"/>
              </a:ext>
            </a:extLst>
          </p:cNvPr>
          <p:cNvGrpSpPr/>
          <p:nvPr/>
        </p:nvGrpSpPr>
        <p:grpSpPr>
          <a:xfrm>
            <a:off x="82296" y="457908"/>
            <a:ext cx="9061704" cy="4227014"/>
            <a:chOff x="77636" y="1398840"/>
            <a:chExt cx="9008502" cy="4282736"/>
          </a:xfrm>
        </p:grpSpPr>
        <p:sp>
          <p:nvSpPr>
            <p:cNvPr id="6" name="圆角矩形 5">
              <a:extLst>
                <a:ext uri="{FF2B5EF4-FFF2-40B4-BE49-F238E27FC236}">
                  <a16:creationId xmlns:a16="http://schemas.microsoft.com/office/drawing/2014/main" id="{E1C135ED-8EF6-F443-85F6-CD3A6251EA64}"/>
                </a:ext>
              </a:extLst>
            </p:cNvPr>
            <p:cNvSpPr/>
            <p:nvPr/>
          </p:nvSpPr>
          <p:spPr>
            <a:xfrm>
              <a:off x="77987" y="1398840"/>
              <a:ext cx="411867" cy="175387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架构调整前</a:t>
              </a:r>
            </a:p>
          </p:txBody>
        </p:sp>
        <p:sp>
          <p:nvSpPr>
            <p:cNvPr id="7" name="圆角矩形 6">
              <a:extLst>
                <a:ext uri="{FF2B5EF4-FFF2-40B4-BE49-F238E27FC236}">
                  <a16:creationId xmlns:a16="http://schemas.microsoft.com/office/drawing/2014/main" id="{389E6CE8-DFBF-8E44-A045-A85E03511769}"/>
                </a:ext>
              </a:extLst>
            </p:cNvPr>
            <p:cNvSpPr/>
            <p:nvPr/>
          </p:nvSpPr>
          <p:spPr>
            <a:xfrm>
              <a:off x="77636" y="3208419"/>
              <a:ext cx="411867" cy="2473157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架构调整后</a:t>
              </a: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C7E434C7-2EEB-154B-A66F-8EE5B1D51DD6}"/>
                </a:ext>
              </a:extLst>
            </p:cNvPr>
            <p:cNvSpPr txBox="1"/>
            <p:nvPr/>
          </p:nvSpPr>
          <p:spPr>
            <a:xfrm>
              <a:off x="6468119" y="1415036"/>
              <a:ext cx="2618017" cy="1384995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marL="171450" indent="-171450">
                <a:buFont typeface="Wingdings" charset="2"/>
                <a:buChar char="ü"/>
              </a:pP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DEV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和 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TEST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两套环境，开发测试隔离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en-US" altLang="zh-CN" sz="1200" dirty="0" err="1">
                  <a:latin typeface="微软雅黑"/>
                  <a:ea typeface="微软雅黑"/>
                  <a:cs typeface="微软雅黑"/>
                </a:rPr>
                <a:t>Dev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-&gt;master-&gt;</a:t>
              </a:r>
              <a:r>
                <a:rPr kumimoji="1" lang="en-US" altLang="zh-CN" sz="1200" dirty="0" err="1">
                  <a:latin typeface="微软雅黑"/>
                  <a:ea typeface="微软雅黑"/>
                  <a:cs typeface="微软雅黑"/>
                </a:rPr>
                <a:t>rb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单向合并规则简洁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未测试代码不带上线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保留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RB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确保 </a:t>
              </a:r>
              <a:r>
                <a:rPr kumimoji="1" lang="en-US" altLang="zh-CN" sz="1200" dirty="0" err="1">
                  <a:latin typeface="微软雅黑"/>
                  <a:ea typeface="微软雅黑"/>
                  <a:cs typeface="微软雅黑"/>
                </a:rPr>
                <a:t>bugfix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随时发布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Hook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融入 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CI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过程保障高质交付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</p:txBody>
        </p:sp>
        <p:cxnSp>
          <p:nvCxnSpPr>
            <p:cNvPr id="9" name="直线箭头连接符 8">
              <a:extLst>
                <a:ext uri="{FF2B5EF4-FFF2-40B4-BE49-F238E27FC236}">
                  <a16:creationId xmlns:a16="http://schemas.microsoft.com/office/drawing/2014/main" id="{B7A42035-7088-DA4E-91D8-DD76E35D4C85}"/>
                </a:ext>
              </a:extLst>
            </p:cNvPr>
            <p:cNvCxnSpPr/>
            <p:nvPr/>
          </p:nvCxnSpPr>
          <p:spPr>
            <a:xfrm>
              <a:off x="590475" y="3609474"/>
              <a:ext cx="5318790" cy="0"/>
            </a:xfrm>
            <a:prstGeom prst="straightConnector1">
              <a:avLst/>
            </a:prstGeom>
            <a:ln w="28575" cmpd="sng"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直线箭头连接符 9">
              <a:extLst>
                <a:ext uri="{FF2B5EF4-FFF2-40B4-BE49-F238E27FC236}">
                  <a16:creationId xmlns:a16="http://schemas.microsoft.com/office/drawing/2014/main" id="{D8B6ADF3-1B30-3247-BDCF-AFE9C4EFD625}"/>
                </a:ext>
              </a:extLst>
            </p:cNvPr>
            <p:cNvCxnSpPr/>
            <p:nvPr/>
          </p:nvCxnSpPr>
          <p:spPr>
            <a:xfrm>
              <a:off x="606135" y="2107534"/>
              <a:ext cx="5303130" cy="0"/>
            </a:xfrm>
            <a:prstGeom prst="straightConnector1">
              <a:avLst/>
            </a:prstGeom>
            <a:ln w="28575" cmpd="sng"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" name="圆角矩形 10">
              <a:extLst>
                <a:ext uri="{FF2B5EF4-FFF2-40B4-BE49-F238E27FC236}">
                  <a16:creationId xmlns:a16="http://schemas.microsoft.com/office/drawing/2014/main" id="{224431BC-B378-324E-A113-4DA8299DD94C}"/>
                </a:ext>
              </a:extLst>
            </p:cNvPr>
            <p:cNvSpPr/>
            <p:nvPr/>
          </p:nvSpPr>
          <p:spPr>
            <a:xfrm>
              <a:off x="534770" y="2068540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1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圆角矩形 11">
              <a:extLst>
                <a:ext uri="{FF2B5EF4-FFF2-40B4-BE49-F238E27FC236}">
                  <a16:creationId xmlns:a16="http://schemas.microsoft.com/office/drawing/2014/main" id="{495D63B9-53D4-084E-A42D-4D7A26FAF10C}"/>
                </a:ext>
              </a:extLst>
            </p:cNvPr>
            <p:cNvSpPr/>
            <p:nvPr/>
          </p:nvSpPr>
          <p:spPr>
            <a:xfrm>
              <a:off x="692565" y="4157359"/>
              <a:ext cx="850642" cy="23394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9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Fea1_0125</a:t>
              </a:r>
              <a:endParaRPr kumimoji="1" lang="zh-CN" altLang="en-US" sz="9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圆角矩形 12">
              <a:extLst>
                <a:ext uri="{FF2B5EF4-FFF2-40B4-BE49-F238E27FC236}">
                  <a16:creationId xmlns:a16="http://schemas.microsoft.com/office/drawing/2014/main" id="{AC36F8E9-03F0-F949-85E3-78FD505C66BE}"/>
                </a:ext>
              </a:extLst>
            </p:cNvPr>
            <p:cNvSpPr/>
            <p:nvPr/>
          </p:nvSpPr>
          <p:spPr>
            <a:xfrm>
              <a:off x="692565" y="4588266"/>
              <a:ext cx="850642" cy="23394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9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Fea2_0125</a:t>
              </a:r>
              <a:endParaRPr kumimoji="1" lang="zh-CN" altLang="en-US" sz="9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圆角矩形 13">
              <a:extLst>
                <a:ext uri="{FF2B5EF4-FFF2-40B4-BE49-F238E27FC236}">
                  <a16:creationId xmlns:a16="http://schemas.microsoft.com/office/drawing/2014/main" id="{E07C0A2F-AA10-084D-A0F4-8BB08C70E3F9}"/>
                </a:ext>
              </a:extLst>
            </p:cNvPr>
            <p:cNvSpPr/>
            <p:nvPr/>
          </p:nvSpPr>
          <p:spPr>
            <a:xfrm>
              <a:off x="681424" y="5052593"/>
              <a:ext cx="850642" cy="23394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9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Fea3_0126</a:t>
              </a:r>
              <a:endParaRPr kumimoji="1" lang="zh-CN" altLang="en-US" sz="9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5" name="肘形连接符 14">
              <a:extLst>
                <a:ext uri="{FF2B5EF4-FFF2-40B4-BE49-F238E27FC236}">
                  <a16:creationId xmlns:a16="http://schemas.microsoft.com/office/drawing/2014/main" id="{621DBC2A-97E3-4D46-8DF4-9AC2142BF060}"/>
                </a:ext>
              </a:extLst>
            </p:cNvPr>
            <p:cNvCxnSpPr>
              <a:endCxn id="12" idx="1"/>
            </p:cNvCxnSpPr>
            <p:nvPr/>
          </p:nvCxnSpPr>
          <p:spPr>
            <a:xfrm rot="16200000" flipH="1">
              <a:off x="323019" y="3904787"/>
              <a:ext cx="637004" cy="102088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肘形连接符 15">
              <a:extLst>
                <a:ext uri="{FF2B5EF4-FFF2-40B4-BE49-F238E27FC236}">
                  <a16:creationId xmlns:a16="http://schemas.microsoft.com/office/drawing/2014/main" id="{898699E7-5624-5743-8EE7-0F5BE66034C1}"/>
                </a:ext>
              </a:extLst>
            </p:cNvPr>
            <p:cNvCxnSpPr>
              <a:endCxn id="13" idx="1"/>
            </p:cNvCxnSpPr>
            <p:nvPr/>
          </p:nvCxnSpPr>
          <p:spPr>
            <a:xfrm rot="16200000" flipH="1">
              <a:off x="129844" y="4142518"/>
              <a:ext cx="1023353" cy="102090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肘形连接符 16">
              <a:extLst>
                <a:ext uri="{FF2B5EF4-FFF2-40B4-BE49-F238E27FC236}">
                  <a16:creationId xmlns:a16="http://schemas.microsoft.com/office/drawing/2014/main" id="{F8E7E438-1273-6545-BC64-D9E30A8307C2}"/>
                </a:ext>
              </a:extLst>
            </p:cNvPr>
            <p:cNvCxnSpPr>
              <a:endCxn id="14" idx="1"/>
            </p:cNvCxnSpPr>
            <p:nvPr/>
          </p:nvCxnSpPr>
          <p:spPr>
            <a:xfrm rot="16200000" flipH="1">
              <a:off x="-64723" y="4423419"/>
              <a:ext cx="1401345" cy="90949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圆角矩形 17">
              <a:extLst>
                <a:ext uri="{FF2B5EF4-FFF2-40B4-BE49-F238E27FC236}">
                  <a16:creationId xmlns:a16="http://schemas.microsoft.com/office/drawing/2014/main" id="{FD235BBE-33B0-BB48-87DC-CDBC286A30E6}"/>
                </a:ext>
              </a:extLst>
            </p:cNvPr>
            <p:cNvSpPr/>
            <p:nvPr/>
          </p:nvSpPr>
          <p:spPr>
            <a:xfrm>
              <a:off x="681424" y="5462336"/>
              <a:ext cx="2393776" cy="19696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l</a:t>
              </a:r>
              <a:r>
                <a:rPr kumimoji="1" lang="en-US" altLang="zh-CN" sz="1000" b="1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ocal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id="{776D467C-61D1-4840-AD8A-A15987D8AD08}"/>
                </a:ext>
              </a:extLst>
            </p:cNvPr>
            <p:cNvSpPr/>
            <p:nvPr/>
          </p:nvSpPr>
          <p:spPr>
            <a:xfrm>
              <a:off x="541986" y="3492500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1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2" name="圆角矩形 21">
              <a:extLst>
                <a:ext uri="{FF2B5EF4-FFF2-40B4-BE49-F238E27FC236}">
                  <a16:creationId xmlns:a16="http://schemas.microsoft.com/office/drawing/2014/main" id="{A83571C9-3350-0844-B3D0-9A54A937B622}"/>
                </a:ext>
              </a:extLst>
            </p:cNvPr>
            <p:cNvSpPr/>
            <p:nvPr/>
          </p:nvSpPr>
          <p:spPr>
            <a:xfrm>
              <a:off x="2298694" y="3484141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2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3" name="圆角矩形 22">
              <a:extLst>
                <a:ext uri="{FF2B5EF4-FFF2-40B4-BE49-F238E27FC236}">
                  <a16:creationId xmlns:a16="http://schemas.microsoft.com/office/drawing/2014/main" id="{69A6A387-9A2E-F249-B3D1-0C33898EE71D}"/>
                </a:ext>
              </a:extLst>
            </p:cNvPr>
            <p:cNvSpPr/>
            <p:nvPr/>
          </p:nvSpPr>
          <p:spPr>
            <a:xfrm>
              <a:off x="5083952" y="3484141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4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圆角矩形 23">
              <a:extLst>
                <a:ext uri="{FF2B5EF4-FFF2-40B4-BE49-F238E27FC236}">
                  <a16:creationId xmlns:a16="http://schemas.microsoft.com/office/drawing/2014/main" id="{7401BB49-9817-4A4E-90EF-F227D804D792}"/>
                </a:ext>
              </a:extLst>
            </p:cNvPr>
            <p:cNvSpPr/>
            <p:nvPr/>
          </p:nvSpPr>
          <p:spPr>
            <a:xfrm>
              <a:off x="2649879" y="4157359"/>
              <a:ext cx="850642" cy="23394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R</a:t>
              </a:r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B_0125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5" name="直线箭头连接符 24">
              <a:extLst>
                <a:ext uri="{FF2B5EF4-FFF2-40B4-BE49-F238E27FC236}">
                  <a16:creationId xmlns:a16="http://schemas.microsoft.com/office/drawing/2014/main" id="{AED3D563-FDB3-8548-9759-6752060D3AFD}"/>
                </a:ext>
              </a:extLst>
            </p:cNvPr>
            <p:cNvCxnSpPr>
              <a:stCxn id="12" idx="3"/>
              <a:endCxn id="24" idx="1"/>
            </p:cNvCxnSpPr>
            <p:nvPr/>
          </p:nvCxnSpPr>
          <p:spPr>
            <a:xfrm>
              <a:off x="1543207" y="4274333"/>
              <a:ext cx="1106672" cy="0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肘形连接符 25">
              <a:extLst>
                <a:ext uri="{FF2B5EF4-FFF2-40B4-BE49-F238E27FC236}">
                  <a16:creationId xmlns:a16="http://schemas.microsoft.com/office/drawing/2014/main" id="{262D432E-F2B4-7C42-8922-F9B972FFF9AD}"/>
                </a:ext>
              </a:extLst>
            </p:cNvPr>
            <p:cNvCxnSpPr>
              <a:stCxn id="13" idx="3"/>
              <a:endCxn id="24" idx="2"/>
            </p:cNvCxnSpPr>
            <p:nvPr/>
          </p:nvCxnSpPr>
          <p:spPr>
            <a:xfrm flipV="1">
              <a:off x="1543207" y="4391306"/>
              <a:ext cx="1531993" cy="313934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圆角矩形 26">
              <a:extLst>
                <a:ext uri="{FF2B5EF4-FFF2-40B4-BE49-F238E27FC236}">
                  <a16:creationId xmlns:a16="http://schemas.microsoft.com/office/drawing/2014/main" id="{5479164A-98A5-B740-863B-64C90F6CEFAA}"/>
                </a:ext>
              </a:extLst>
            </p:cNvPr>
            <p:cNvSpPr/>
            <p:nvPr/>
          </p:nvSpPr>
          <p:spPr>
            <a:xfrm>
              <a:off x="1376795" y="3269787"/>
              <a:ext cx="739933" cy="209670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Bugfix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8" name="肘形连接符 27">
              <a:extLst>
                <a:ext uri="{FF2B5EF4-FFF2-40B4-BE49-F238E27FC236}">
                  <a16:creationId xmlns:a16="http://schemas.microsoft.com/office/drawing/2014/main" id="{CC51ADEC-8A26-5D4E-B011-C06196EBE486}"/>
                </a:ext>
              </a:extLst>
            </p:cNvPr>
            <p:cNvCxnSpPr>
              <a:stCxn id="20" idx="0"/>
              <a:endCxn id="27" idx="1"/>
            </p:cNvCxnSpPr>
            <p:nvPr/>
          </p:nvCxnSpPr>
          <p:spPr>
            <a:xfrm rot="5400000" flipH="1" flipV="1">
              <a:off x="1036929" y="3152635"/>
              <a:ext cx="117878" cy="561853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肘形连接符 28">
              <a:extLst>
                <a:ext uri="{FF2B5EF4-FFF2-40B4-BE49-F238E27FC236}">
                  <a16:creationId xmlns:a16="http://schemas.microsoft.com/office/drawing/2014/main" id="{D9616638-D13E-0648-ADC4-97582AEBCDBB}"/>
                </a:ext>
              </a:extLst>
            </p:cNvPr>
            <p:cNvCxnSpPr>
              <a:stCxn id="27" idx="3"/>
              <a:endCxn id="22" idx="0"/>
            </p:cNvCxnSpPr>
            <p:nvPr/>
          </p:nvCxnSpPr>
          <p:spPr>
            <a:xfrm>
              <a:off x="2116728" y="3374622"/>
              <a:ext cx="454922" cy="109519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直线连接符 29">
              <a:extLst>
                <a:ext uri="{FF2B5EF4-FFF2-40B4-BE49-F238E27FC236}">
                  <a16:creationId xmlns:a16="http://schemas.microsoft.com/office/drawing/2014/main" id="{EF11F352-794C-494D-B47E-183C7ABC7CDB}"/>
                </a:ext>
              </a:extLst>
            </p:cNvPr>
            <p:cNvCxnSpPr/>
            <p:nvPr/>
          </p:nvCxnSpPr>
          <p:spPr>
            <a:xfrm flipV="1">
              <a:off x="1543208" y="3609474"/>
              <a:ext cx="1" cy="334214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肘形连接符 30">
              <a:extLst>
                <a:ext uri="{FF2B5EF4-FFF2-40B4-BE49-F238E27FC236}">
                  <a16:creationId xmlns:a16="http://schemas.microsoft.com/office/drawing/2014/main" id="{9DA2B550-241E-6943-A18B-9E71E982D456}"/>
                </a:ext>
              </a:extLst>
            </p:cNvPr>
            <p:cNvCxnSpPr>
              <a:stCxn id="14" idx="3"/>
              <a:endCxn id="18" idx="0"/>
            </p:cNvCxnSpPr>
            <p:nvPr/>
          </p:nvCxnSpPr>
          <p:spPr>
            <a:xfrm>
              <a:off x="1532066" y="5169567"/>
              <a:ext cx="346246" cy="292769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肘形连接符 31">
              <a:extLst>
                <a:ext uri="{FF2B5EF4-FFF2-40B4-BE49-F238E27FC236}">
                  <a16:creationId xmlns:a16="http://schemas.microsoft.com/office/drawing/2014/main" id="{874996C4-A204-AA49-9B28-55EDF31A5DDB}"/>
                </a:ext>
              </a:extLst>
            </p:cNvPr>
            <p:cNvCxnSpPr>
              <a:stCxn id="13" idx="2"/>
              <a:endCxn id="18" idx="0"/>
            </p:cNvCxnSpPr>
            <p:nvPr/>
          </p:nvCxnSpPr>
          <p:spPr>
            <a:xfrm rot="16200000" flipH="1">
              <a:off x="1178038" y="4762061"/>
              <a:ext cx="640123" cy="760426"/>
            </a:xfrm>
            <a:prstGeom prst="bentConnector3">
              <a:avLst>
                <a:gd name="adj1" fmla="val 23895"/>
              </a:avLst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肘形连接符 32">
              <a:extLst>
                <a:ext uri="{FF2B5EF4-FFF2-40B4-BE49-F238E27FC236}">
                  <a16:creationId xmlns:a16="http://schemas.microsoft.com/office/drawing/2014/main" id="{2250A3B2-789A-FD43-BB56-3D3E51901EF0}"/>
                </a:ext>
              </a:extLst>
            </p:cNvPr>
            <p:cNvCxnSpPr>
              <a:stCxn id="12" idx="2"/>
              <a:endCxn id="18" idx="0"/>
            </p:cNvCxnSpPr>
            <p:nvPr/>
          </p:nvCxnSpPr>
          <p:spPr>
            <a:xfrm rot="16200000" flipH="1">
              <a:off x="962584" y="4546608"/>
              <a:ext cx="1071030" cy="760426"/>
            </a:xfrm>
            <a:prstGeom prst="bentConnector3">
              <a:avLst>
                <a:gd name="adj1" fmla="val 14635"/>
              </a:avLst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肘形连接符 33">
              <a:extLst>
                <a:ext uri="{FF2B5EF4-FFF2-40B4-BE49-F238E27FC236}">
                  <a16:creationId xmlns:a16="http://schemas.microsoft.com/office/drawing/2014/main" id="{6E9718CA-F87C-CE40-9072-05C76E7447AB}"/>
                </a:ext>
              </a:extLst>
            </p:cNvPr>
            <p:cNvCxnSpPr>
              <a:stCxn id="24" idx="3"/>
              <a:endCxn id="43" idx="2"/>
            </p:cNvCxnSpPr>
            <p:nvPr/>
          </p:nvCxnSpPr>
          <p:spPr>
            <a:xfrm flipV="1">
              <a:off x="3500521" y="3726447"/>
              <a:ext cx="215080" cy="547886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圆角矩形 34">
              <a:extLst>
                <a:ext uri="{FF2B5EF4-FFF2-40B4-BE49-F238E27FC236}">
                  <a16:creationId xmlns:a16="http://schemas.microsoft.com/office/drawing/2014/main" id="{04056D58-B42F-184F-94E0-B4BE39D24928}"/>
                </a:ext>
              </a:extLst>
            </p:cNvPr>
            <p:cNvSpPr/>
            <p:nvPr/>
          </p:nvSpPr>
          <p:spPr>
            <a:xfrm>
              <a:off x="1494350" y="4796478"/>
              <a:ext cx="767924" cy="115190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Pull</a:t>
              </a:r>
              <a:r>
                <a:rPr kumimoji="1" lang="zh-CN" altLang="en-US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kumimoji="1" lang="zh-CN" altLang="zh-CN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P</a:t>
              </a:r>
              <a:r>
                <a:rPr kumimoji="1" lang="en-US" altLang="zh-CN" sz="800" b="1" dirty="0" err="1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ush</a:t>
              </a:r>
              <a:endParaRPr kumimoji="1" lang="zh-CN" altLang="en-US" sz="800" b="1" dirty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圆角矩形 35">
              <a:extLst>
                <a:ext uri="{FF2B5EF4-FFF2-40B4-BE49-F238E27FC236}">
                  <a16:creationId xmlns:a16="http://schemas.microsoft.com/office/drawing/2014/main" id="{7129709B-A831-2749-9A80-3A557047C9DB}"/>
                </a:ext>
              </a:extLst>
            </p:cNvPr>
            <p:cNvSpPr/>
            <p:nvPr/>
          </p:nvSpPr>
          <p:spPr>
            <a:xfrm>
              <a:off x="4425546" y="3908709"/>
              <a:ext cx="850642" cy="23394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R</a:t>
              </a:r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B_0126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37" name="肘形连接符 36">
              <a:extLst>
                <a:ext uri="{FF2B5EF4-FFF2-40B4-BE49-F238E27FC236}">
                  <a16:creationId xmlns:a16="http://schemas.microsoft.com/office/drawing/2014/main" id="{5EEBACCA-4708-9D42-BAAC-AE148FC12118}"/>
                </a:ext>
              </a:extLst>
            </p:cNvPr>
            <p:cNvCxnSpPr>
              <a:stCxn id="14" idx="2"/>
              <a:endCxn id="36" idx="2"/>
            </p:cNvCxnSpPr>
            <p:nvPr/>
          </p:nvCxnSpPr>
          <p:spPr>
            <a:xfrm rot="5400000" flipH="1" flipV="1">
              <a:off x="2406864" y="2842537"/>
              <a:ext cx="1143884" cy="3744122"/>
            </a:xfrm>
            <a:prstGeom prst="bentConnector3">
              <a:avLst>
                <a:gd name="adj1" fmla="val -19985"/>
              </a:avLst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肘形连接符 37">
              <a:extLst>
                <a:ext uri="{FF2B5EF4-FFF2-40B4-BE49-F238E27FC236}">
                  <a16:creationId xmlns:a16="http://schemas.microsoft.com/office/drawing/2014/main" id="{EE41A126-06F4-8443-B29B-C389DE7E8B5C}"/>
                </a:ext>
              </a:extLst>
            </p:cNvPr>
            <p:cNvCxnSpPr>
              <a:stCxn id="36" idx="3"/>
              <a:endCxn id="23" idx="2"/>
            </p:cNvCxnSpPr>
            <p:nvPr/>
          </p:nvCxnSpPr>
          <p:spPr>
            <a:xfrm flipV="1">
              <a:off x="5276188" y="3718088"/>
              <a:ext cx="80720" cy="307595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直线箭头连接符 38">
              <a:extLst>
                <a:ext uri="{FF2B5EF4-FFF2-40B4-BE49-F238E27FC236}">
                  <a16:creationId xmlns:a16="http://schemas.microsoft.com/office/drawing/2014/main" id="{6187C36A-53FE-F043-AC5E-E7E2A7281F8B}"/>
                </a:ext>
              </a:extLst>
            </p:cNvPr>
            <p:cNvCxnSpPr/>
            <p:nvPr/>
          </p:nvCxnSpPr>
          <p:spPr>
            <a:xfrm>
              <a:off x="3275463" y="3609474"/>
              <a:ext cx="0" cy="547884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sysDash"/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直线箭头连接符 39">
              <a:extLst>
                <a:ext uri="{FF2B5EF4-FFF2-40B4-BE49-F238E27FC236}">
                  <a16:creationId xmlns:a16="http://schemas.microsoft.com/office/drawing/2014/main" id="{E062B8D8-5646-9248-8590-12ADABCE6532}"/>
                </a:ext>
              </a:extLst>
            </p:cNvPr>
            <p:cNvCxnSpPr/>
            <p:nvPr/>
          </p:nvCxnSpPr>
          <p:spPr>
            <a:xfrm>
              <a:off x="4380982" y="3581626"/>
              <a:ext cx="0" cy="1943990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sysDash"/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1" name="圆角矩形 40">
              <a:extLst>
                <a:ext uri="{FF2B5EF4-FFF2-40B4-BE49-F238E27FC236}">
                  <a16:creationId xmlns:a16="http://schemas.microsoft.com/office/drawing/2014/main" id="{91269088-7BBB-A94B-B07D-7FF350AF7575}"/>
                </a:ext>
              </a:extLst>
            </p:cNvPr>
            <p:cNvSpPr/>
            <p:nvPr/>
          </p:nvSpPr>
          <p:spPr>
            <a:xfrm>
              <a:off x="3981743" y="4157359"/>
              <a:ext cx="798478" cy="233947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每日同步</a:t>
              </a:r>
            </a:p>
          </p:txBody>
        </p:sp>
        <p:sp>
          <p:nvSpPr>
            <p:cNvPr id="42" name="圆角矩形 41">
              <a:extLst>
                <a:ext uri="{FF2B5EF4-FFF2-40B4-BE49-F238E27FC236}">
                  <a16:creationId xmlns:a16="http://schemas.microsoft.com/office/drawing/2014/main" id="{6F42506A-03E6-D84F-B528-EFDA27F281F1}"/>
                </a:ext>
              </a:extLst>
            </p:cNvPr>
            <p:cNvSpPr/>
            <p:nvPr/>
          </p:nvSpPr>
          <p:spPr>
            <a:xfrm>
              <a:off x="2933135" y="3714196"/>
              <a:ext cx="710048" cy="229492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上线前同步</a:t>
              </a:r>
            </a:p>
          </p:txBody>
        </p:sp>
        <p:sp>
          <p:nvSpPr>
            <p:cNvPr id="43" name="圆角矩形 42">
              <a:extLst>
                <a:ext uri="{FF2B5EF4-FFF2-40B4-BE49-F238E27FC236}">
                  <a16:creationId xmlns:a16="http://schemas.microsoft.com/office/drawing/2014/main" id="{F9B9408B-7C50-2D4F-8A3B-A78CDA96BE07}"/>
                </a:ext>
              </a:extLst>
            </p:cNvPr>
            <p:cNvSpPr/>
            <p:nvPr/>
          </p:nvSpPr>
          <p:spPr>
            <a:xfrm>
              <a:off x="3442645" y="3492500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3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44" name="肘形连接符 43">
              <a:extLst>
                <a:ext uri="{FF2B5EF4-FFF2-40B4-BE49-F238E27FC236}">
                  <a16:creationId xmlns:a16="http://schemas.microsoft.com/office/drawing/2014/main" id="{26B5FB47-1909-E347-940F-A70EF0D0D884}"/>
                </a:ext>
              </a:extLst>
            </p:cNvPr>
            <p:cNvCxnSpPr>
              <a:endCxn id="24" idx="0"/>
            </p:cNvCxnSpPr>
            <p:nvPr/>
          </p:nvCxnSpPr>
          <p:spPr>
            <a:xfrm>
              <a:off x="1543209" y="3943687"/>
              <a:ext cx="1531991" cy="213672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5" name="矩形标注 44">
              <a:extLst>
                <a:ext uri="{FF2B5EF4-FFF2-40B4-BE49-F238E27FC236}">
                  <a16:creationId xmlns:a16="http://schemas.microsoft.com/office/drawing/2014/main" id="{DB04CB8E-1C04-CD47-B860-F4949329EF70}"/>
                </a:ext>
              </a:extLst>
            </p:cNvPr>
            <p:cNvSpPr/>
            <p:nvPr/>
          </p:nvSpPr>
          <p:spPr>
            <a:xfrm>
              <a:off x="2298695" y="4796478"/>
              <a:ext cx="865358" cy="490062"/>
            </a:xfrm>
            <a:prstGeom prst="wedgeRectCallout">
              <a:avLst>
                <a:gd name="adj1" fmla="val -101942"/>
                <a:gd name="adj2" fmla="val 339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Push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 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Hook:</a:t>
              </a: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1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CR&amp;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编译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2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UT</a:t>
              </a: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3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关联 </a:t>
              </a:r>
              <a:r>
                <a:rPr kumimoji="1" lang="en-US" altLang="zh-CN" sz="800" dirty="0" err="1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icafe</a:t>
              </a:r>
              <a:endParaRPr kumimoji="1" lang="zh-CN" altLang="en-US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46" name="矩形标注 45">
              <a:extLst>
                <a:ext uri="{FF2B5EF4-FFF2-40B4-BE49-F238E27FC236}">
                  <a16:creationId xmlns:a16="http://schemas.microsoft.com/office/drawing/2014/main" id="{DBC6E3D7-BD87-2E4D-AC9F-6FFCA1C8DDEC}"/>
                </a:ext>
              </a:extLst>
            </p:cNvPr>
            <p:cNvSpPr/>
            <p:nvPr/>
          </p:nvSpPr>
          <p:spPr>
            <a:xfrm>
              <a:off x="4991827" y="4386179"/>
              <a:ext cx="1409447" cy="1139437"/>
            </a:xfrm>
            <a:prstGeom prst="wedgeRectCallout">
              <a:avLst>
                <a:gd name="adj1" fmla="val -23725"/>
                <a:gd name="adj2" fmla="val -8138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上线 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Hook:</a:t>
              </a: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1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编译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2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接口自动化（全量）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3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端自动化（全量）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4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性能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5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安全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&amp;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源码扫描（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daily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）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6、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自定义规范检查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7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功能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8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兼容性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47" name="矩形标注 46">
              <a:extLst>
                <a:ext uri="{FF2B5EF4-FFF2-40B4-BE49-F238E27FC236}">
                  <a16:creationId xmlns:a16="http://schemas.microsoft.com/office/drawing/2014/main" id="{F902E03A-19BC-AC4B-A6B7-539575FFEF16}"/>
                </a:ext>
              </a:extLst>
            </p:cNvPr>
            <p:cNvSpPr/>
            <p:nvPr/>
          </p:nvSpPr>
          <p:spPr>
            <a:xfrm>
              <a:off x="3253233" y="4489561"/>
              <a:ext cx="1024922" cy="972775"/>
            </a:xfrm>
            <a:prstGeom prst="wedgeRectCallout">
              <a:avLst>
                <a:gd name="adj1" fmla="val -21008"/>
                <a:gd name="adj2" fmla="val 54831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提测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Hook:</a:t>
              </a: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1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编译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2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契约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3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接口自动化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4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端自动化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5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QA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 人工准入</a:t>
              </a: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071CB6B9-DA3E-2248-A4BC-63B57822AF2A}"/>
                </a:ext>
              </a:extLst>
            </p:cNvPr>
            <p:cNvSpPr txBox="1"/>
            <p:nvPr/>
          </p:nvSpPr>
          <p:spPr>
            <a:xfrm>
              <a:off x="6485191" y="3892888"/>
              <a:ext cx="2600946" cy="15696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marL="171450" indent="-171450">
                <a:buFont typeface="Wingdings" charset="2"/>
                <a:buChar char="ü"/>
              </a:pP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多套逻辑隔离环境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各</a:t>
              </a:r>
              <a:r>
                <a:rPr kumimoji="1" lang="zh-CN" altLang="zh-CN" sz="1200" dirty="0">
                  <a:latin typeface="微软雅黑"/>
                  <a:ea typeface="微软雅黑"/>
                  <a:cs typeface="微软雅黑"/>
                </a:rPr>
                <a:t>F</a:t>
              </a:r>
              <a:r>
                <a:rPr kumimoji="1" lang="en-US" altLang="zh-CN" sz="1200" dirty="0" err="1">
                  <a:latin typeface="微软雅黑"/>
                  <a:ea typeface="微软雅黑"/>
                  <a:cs typeface="微软雅黑"/>
                </a:rPr>
                <a:t>ea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分支独立并行开发测试，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RB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集成测试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多 </a:t>
              </a:r>
              <a:r>
                <a:rPr kumimoji="1" lang="en-US" altLang="zh-CN" sz="1200" dirty="0" err="1">
                  <a:latin typeface="微软雅黑"/>
                  <a:ea typeface="微软雅黑"/>
                  <a:cs typeface="微软雅黑"/>
                </a:rPr>
                <a:t>fea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组合 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RB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发布内容更灵活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Master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与线上代码同步，</a:t>
              </a:r>
              <a:r>
                <a:rPr kumimoji="1" lang="en-US" altLang="zh-CN" sz="1200" dirty="0" err="1">
                  <a:latin typeface="微软雅黑"/>
                  <a:ea typeface="微软雅黑"/>
                  <a:cs typeface="微软雅黑"/>
                </a:rPr>
                <a:t>bugfix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随时发布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定期同步机制尽早发现冲突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  <a:p>
              <a:pPr marL="171450" indent="-171450">
                <a:buFont typeface="Wingdings" charset="2"/>
                <a:buChar char="ü"/>
              </a:pP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Hook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融入 </a:t>
              </a:r>
              <a:r>
                <a:rPr kumimoji="1" lang="en-US" altLang="zh-CN" sz="1200" dirty="0">
                  <a:latin typeface="微软雅黑"/>
                  <a:ea typeface="微软雅黑"/>
                  <a:cs typeface="微软雅黑"/>
                </a:rPr>
                <a:t>CI</a:t>
              </a:r>
              <a:r>
                <a:rPr kumimoji="1" lang="zh-CN" altLang="en-US" sz="1200" dirty="0">
                  <a:latin typeface="微软雅黑"/>
                  <a:ea typeface="微软雅黑"/>
                  <a:cs typeface="微软雅黑"/>
                </a:rPr>
                <a:t> 过程保障高质交付</a:t>
              </a:r>
              <a:endParaRPr kumimoji="1" lang="en-US" altLang="zh-CN" sz="1200" dirty="0">
                <a:latin typeface="微软雅黑"/>
                <a:ea typeface="微软雅黑"/>
                <a:cs typeface="微软雅黑"/>
              </a:endParaRPr>
            </a:p>
          </p:txBody>
        </p:sp>
        <p:cxnSp>
          <p:nvCxnSpPr>
            <p:cNvPr id="49" name="直线箭头连接符 48">
              <a:extLst>
                <a:ext uri="{FF2B5EF4-FFF2-40B4-BE49-F238E27FC236}">
                  <a16:creationId xmlns:a16="http://schemas.microsoft.com/office/drawing/2014/main" id="{E7DF4783-24EE-044C-8613-67C52DD855F2}"/>
                </a:ext>
              </a:extLst>
            </p:cNvPr>
            <p:cNvCxnSpPr/>
            <p:nvPr/>
          </p:nvCxnSpPr>
          <p:spPr>
            <a:xfrm>
              <a:off x="814941" y="2649846"/>
              <a:ext cx="5078664" cy="0"/>
            </a:xfrm>
            <a:prstGeom prst="straightConnector1">
              <a:avLst/>
            </a:prstGeom>
            <a:ln w="28575" cmpd="sng"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0" name="圆角矩形 49">
              <a:extLst>
                <a:ext uri="{FF2B5EF4-FFF2-40B4-BE49-F238E27FC236}">
                  <a16:creationId xmlns:a16="http://schemas.microsoft.com/office/drawing/2014/main" id="{C721A040-B2E7-164E-AEBD-519A5F6474B9}"/>
                </a:ext>
              </a:extLst>
            </p:cNvPr>
            <p:cNvSpPr/>
            <p:nvPr/>
          </p:nvSpPr>
          <p:spPr>
            <a:xfrm>
              <a:off x="5893605" y="3480249"/>
              <a:ext cx="663874" cy="246198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Master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1" name="圆角矩形 50">
              <a:extLst>
                <a:ext uri="{FF2B5EF4-FFF2-40B4-BE49-F238E27FC236}">
                  <a16:creationId xmlns:a16="http://schemas.microsoft.com/office/drawing/2014/main" id="{849EE439-922C-4546-8624-AAAED4ECBD22}"/>
                </a:ext>
              </a:extLst>
            </p:cNvPr>
            <p:cNvSpPr/>
            <p:nvPr/>
          </p:nvSpPr>
          <p:spPr>
            <a:xfrm>
              <a:off x="5893605" y="1934860"/>
              <a:ext cx="507668" cy="326635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Master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圆角矩形 51">
              <a:extLst>
                <a:ext uri="{FF2B5EF4-FFF2-40B4-BE49-F238E27FC236}">
                  <a16:creationId xmlns:a16="http://schemas.microsoft.com/office/drawing/2014/main" id="{1232E749-C63E-CA43-A0F1-848BA8FD823D}"/>
                </a:ext>
              </a:extLst>
            </p:cNvPr>
            <p:cNvSpPr/>
            <p:nvPr/>
          </p:nvSpPr>
          <p:spPr>
            <a:xfrm>
              <a:off x="5893604" y="2526747"/>
              <a:ext cx="507669" cy="27328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Dev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53" name="直线箭头连接符 52">
              <a:extLst>
                <a:ext uri="{FF2B5EF4-FFF2-40B4-BE49-F238E27FC236}">
                  <a16:creationId xmlns:a16="http://schemas.microsoft.com/office/drawing/2014/main" id="{18BED1F0-89AA-9E48-87DB-D820D19481A1}"/>
                </a:ext>
              </a:extLst>
            </p:cNvPr>
            <p:cNvCxnSpPr>
              <a:stCxn id="11" idx="2"/>
            </p:cNvCxnSpPr>
            <p:nvPr/>
          </p:nvCxnSpPr>
          <p:spPr>
            <a:xfrm>
              <a:off x="807726" y="2302487"/>
              <a:ext cx="7215" cy="200419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4" name="圆角矩形 53">
              <a:extLst>
                <a:ext uri="{FF2B5EF4-FFF2-40B4-BE49-F238E27FC236}">
                  <a16:creationId xmlns:a16="http://schemas.microsoft.com/office/drawing/2014/main" id="{EF71412F-0465-5041-8091-59BD3476F6E5}"/>
                </a:ext>
              </a:extLst>
            </p:cNvPr>
            <p:cNvSpPr/>
            <p:nvPr/>
          </p:nvSpPr>
          <p:spPr>
            <a:xfrm>
              <a:off x="737129" y="2933479"/>
              <a:ext cx="577511" cy="19696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l</a:t>
              </a:r>
              <a:r>
                <a:rPr kumimoji="1" lang="en-US" altLang="zh-CN" sz="1000" b="1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ocal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5" name="圆角矩形 54">
              <a:extLst>
                <a:ext uri="{FF2B5EF4-FFF2-40B4-BE49-F238E27FC236}">
                  <a16:creationId xmlns:a16="http://schemas.microsoft.com/office/drawing/2014/main" id="{20567281-87D1-AF4E-9778-AD7AC8EB2FE4}"/>
                </a:ext>
              </a:extLst>
            </p:cNvPr>
            <p:cNvSpPr/>
            <p:nvPr/>
          </p:nvSpPr>
          <p:spPr>
            <a:xfrm>
              <a:off x="525866" y="2502906"/>
              <a:ext cx="1006200" cy="233947"/>
            </a:xfrm>
            <a:prstGeom prst="roundRect">
              <a:avLst/>
            </a:prstGeom>
            <a:solidFill>
              <a:srgbClr val="4F81BD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Dev_0125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56" name="直线箭头连接符 55">
              <a:extLst>
                <a:ext uri="{FF2B5EF4-FFF2-40B4-BE49-F238E27FC236}">
                  <a16:creationId xmlns:a16="http://schemas.microsoft.com/office/drawing/2014/main" id="{37A52B8C-9660-5043-A247-CB23359A8CEA}"/>
                </a:ext>
              </a:extLst>
            </p:cNvPr>
            <p:cNvCxnSpPr/>
            <p:nvPr/>
          </p:nvCxnSpPr>
          <p:spPr>
            <a:xfrm>
              <a:off x="1028966" y="2736853"/>
              <a:ext cx="8060" cy="196626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直线箭头连接符 56">
              <a:extLst>
                <a:ext uri="{FF2B5EF4-FFF2-40B4-BE49-F238E27FC236}">
                  <a16:creationId xmlns:a16="http://schemas.microsoft.com/office/drawing/2014/main" id="{B703AD5F-5599-9641-9B68-FEC35FC9FA0A}"/>
                </a:ext>
              </a:extLst>
            </p:cNvPr>
            <p:cNvCxnSpPr/>
            <p:nvPr/>
          </p:nvCxnSpPr>
          <p:spPr>
            <a:xfrm flipV="1">
              <a:off x="2298694" y="2107534"/>
              <a:ext cx="1" cy="542312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圆角矩形 57">
              <a:extLst>
                <a:ext uri="{FF2B5EF4-FFF2-40B4-BE49-F238E27FC236}">
                  <a16:creationId xmlns:a16="http://schemas.microsoft.com/office/drawing/2014/main" id="{DA38E691-6A0D-7E42-A317-48438F63E164}"/>
                </a:ext>
              </a:extLst>
            </p:cNvPr>
            <p:cNvSpPr/>
            <p:nvPr/>
          </p:nvSpPr>
          <p:spPr>
            <a:xfrm>
              <a:off x="1922943" y="2280215"/>
              <a:ext cx="710048" cy="229492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提测</a:t>
              </a:r>
            </a:p>
          </p:txBody>
        </p:sp>
        <p:sp>
          <p:nvSpPr>
            <p:cNvPr id="59" name="圆角矩形 58">
              <a:extLst>
                <a:ext uri="{FF2B5EF4-FFF2-40B4-BE49-F238E27FC236}">
                  <a16:creationId xmlns:a16="http://schemas.microsoft.com/office/drawing/2014/main" id="{5DA39E15-2756-384D-9244-6263BBFA18D1}"/>
                </a:ext>
              </a:extLst>
            </p:cNvPr>
            <p:cNvSpPr/>
            <p:nvPr/>
          </p:nvSpPr>
          <p:spPr>
            <a:xfrm>
              <a:off x="3732244" y="1990560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2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0" name="圆角矩形 59">
              <a:extLst>
                <a:ext uri="{FF2B5EF4-FFF2-40B4-BE49-F238E27FC236}">
                  <a16:creationId xmlns:a16="http://schemas.microsoft.com/office/drawing/2014/main" id="{F4340004-A4F5-2F41-A3CD-10F1CBF63A69}"/>
                </a:ext>
              </a:extLst>
            </p:cNvPr>
            <p:cNvSpPr/>
            <p:nvPr/>
          </p:nvSpPr>
          <p:spPr>
            <a:xfrm>
              <a:off x="5175652" y="1990560"/>
              <a:ext cx="545911" cy="233947"/>
            </a:xfrm>
            <a:prstGeom prst="roundRect">
              <a:avLst/>
            </a:prstGeom>
            <a:solidFill>
              <a:srgbClr val="D2D2D2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Tag3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1" name="圆角矩形 60">
              <a:extLst>
                <a:ext uri="{FF2B5EF4-FFF2-40B4-BE49-F238E27FC236}">
                  <a16:creationId xmlns:a16="http://schemas.microsoft.com/office/drawing/2014/main" id="{B11E3A51-D454-B44B-8F86-50DB2E714526}"/>
                </a:ext>
              </a:extLst>
            </p:cNvPr>
            <p:cNvSpPr/>
            <p:nvPr/>
          </p:nvSpPr>
          <p:spPr>
            <a:xfrm>
              <a:off x="3598584" y="1415036"/>
              <a:ext cx="824503" cy="233947"/>
            </a:xfrm>
            <a:prstGeom prst="roundRect">
              <a:avLst/>
            </a:prstGeom>
            <a:solidFill>
              <a:srgbClr val="4F81BD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RB_0125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62" name="直线箭头连接符 61">
              <a:extLst>
                <a:ext uri="{FF2B5EF4-FFF2-40B4-BE49-F238E27FC236}">
                  <a16:creationId xmlns:a16="http://schemas.microsoft.com/office/drawing/2014/main" id="{36A77114-2DB3-6F4B-A467-288FF61A078C}"/>
                </a:ext>
              </a:extLst>
            </p:cNvPr>
            <p:cNvCxnSpPr>
              <a:stCxn id="59" idx="0"/>
              <a:endCxn id="61" idx="2"/>
            </p:cNvCxnSpPr>
            <p:nvPr/>
          </p:nvCxnSpPr>
          <p:spPr>
            <a:xfrm flipV="1">
              <a:off x="4005200" y="1648983"/>
              <a:ext cx="5636" cy="341577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3" name="圆角矩形 62">
              <a:extLst>
                <a:ext uri="{FF2B5EF4-FFF2-40B4-BE49-F238E27FC236}">
                  <a16:creationId xmlns:a16="http://schemas.microsoft.com/office/drawing/2014/main" id="{DFBFD00E-E4B8-3F42-B7B6-4C8AFA4B45DD}"/>
                </a:ext>
              </a:extLst>
            </p:cNvPr>
            <p:cNvSpPr/>
            <p:nvPr/>
          </p:nvSpPr>
          <p:spPr>
            <a:xfrm>
              <a:off x="4623353" y="1430272"/>
              <a:ext cx="739933" cy="209670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 err="1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Bugfix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64" name="直线箭头连接符 63">
              <a:extLst>
                <a:ext uri="{FF2B5EF4-FFF2-40B4-BE49-F238E27FC236}">
                  <a16:creationId xmlns:a16="http://schemas.microsoft.com/office/drawing/2014/main" id="{751DFEBD-5CB5-8F41-B93C-2503AB5FBD36}"/>
                </a:ext>
              </a:extLst>
            </p:cNvPr>
            <p:cNvCxnSpPr>
              <a:stCxn id="61" idx="3"/>
              <a:endCxn id="63" idx="1"/>
            </p:cNvCxnSpPr>
            <p:nvPr/>
          </p:nvCxnSpPr>
          <p:spPr>
            <a:xfrm>
              <a:off x="4423087" y="1532010"/>
              <a:ext cx="200266" cy="3097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肘形连接符 64">
              <a:extLst>
                <a:ext uri="{FF2B5EF4-FFF2-40B4-BE49-F238E27FC236}">
                  <a16:creationId xmlns:a16="http://schemas.microsoft.com/office/drawing/2014/main" id="{65C5E32C-3E4F-F545-8EB8-BE86B2408093}"/>
                </a:ext>
              </a:extLst>
            </p:cNvPr>
            <p:cNvCxnSpPr>
              <a:stCxn id="63" idx="3"/>
              <a:endCxn id="60" idx="0"/>
            </p:cNvCxnSpPr>
            <p:nvPr/>
          </p:nvCxnSpPr>
          <p:spPr>
            <a:xfrm>
              <a:off x="5363286" y="1535107"/>
              <a:ext cx="85322" cy="455453"/>
            </a:xfrm>
            <a:prstGeom prst="bentConnector2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6" name="圆角矩形 65">
              <a:extLst>
                <a:ext uri="{FF2B5EF4-FFF2-40B4-BE49-F238E27FC236}">
                  <a16:creationId xmlns:a16="http://schemas.microsoft.com/office/drawing/2014/main" id="{9570C51F-84E3-AA4F-90DB-3730102CE143}"/>
                </a:ext>
              </a:extLst>
            </p:cNvPr>
            <p:cNvSpPr/>
            <p:nvPr/>
          </p:nvSpPr>
          <p:spPr>
            <a:xfrm>
              <a:off x="3360577" y="3927866"/>
              <a:ext cx="710048" cy="229492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发布后合入</a:t>
              </a:r>
            </a:p>
          </p:txBody>
        </p:sp>
        <p:sp>
          <p:nvSpPr>
            <p:cNvPr id="67" name="圆角矩形 66">
              <a:extLst>
                <a:ext uri="{FF2B5EF4-FFF2-40B4-BE49-F238E27FC236}">
                  <a16:creationId xmlns:a16="http://schemas.microsoft.com/office/drawing/2014/main" id="{BC953CB8-6C33-F74F-8AAD-016C3CCA788E}"/>
                </a:ext>
              </a:extLst>
            </p:cNvPr>
            <p:cNvSpPr/>
            <p:nvPr/>
          </p:nvSpPr>
          <p:spPr>
            <a:xfrm>
              <a:off x="5356908" y="3813120"/>
              <a:ext cx="710048" cy="229492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800" b="1" dirty="0">
                  <a:solidFill>
                    <a:srgbClr val="0000FF"/>
                  </a:solidFill>
                  <a:latin typeface="微软雅黑" pitchFamily="34" charset="-122"/>
                  <a:ea typeface="微软雅黑" pitchFamily="34" charset="-122"/>
                </a:rPr>
                <a:t>发布后合入</a:t>
              </a:r>
            </a:p>
          </p:txBody>
        </p:sp>
        <p:cxnSp>
          <p:nvCxnSpPr>
            <p:cNvPr id="68" name="直线连接符 67">
              <a:extLst>
                <a:ext uri="{FF2B5EF4-FFF2-40B4-BE49-F238E27FC236}">
                  <a16:creationId xmlns:a16="http://schemas.microsoft.com/office/drawing/2014/main" id="{837E4D1E-96D9-DA4A-83F5-18978B45D9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1986" y="3208419"/>
              <a:ext cx="8544152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矩形标注 68">
              <a:extLst>
                <a:ext uri="{FF2B5EF4-FFF2-40B4-BE49-F238E27FC236}">
                  <a16:creationId xmlns:a16="http://schemas.microsoft.com/office/drawing/2014/main" id="{927DCFCF-5CFE-944F-ACBD-A834851F2CB5}"/>
                </a:ext>
              </a:extLst>
            </p:cNvPr>
            <p:cNvSpPr/>
            <p:nvPr/>
          </p:nvSpPr>
          <p:spPr>
            <a:xfrm>
              <a:off x="1706292" y="2688448"/>
              <a:ext cx="865358" cy="490062"/>
            </a:xfrm>
            <a:prstGeom prst="wedgeRectCallout">
              <a:avLst>
                <a:gd name="adj1" fmla="val -125116"/>
                <a:gd name="adj2" fmla="val -21611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Push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 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Hook:</a:t>
              </a: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1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CR&amp;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编译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2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UT</a:t>
              </a: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3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关联 </a:t>
              </a:r>
              <a:r>
                <a:rPr kumimoji="1" lang="en-US" altLang="zh-CN" sz="800" dirty="0" err="1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icafe</a:t>
              </a:r>
              <a:endParaRPr kumimoji="1" lang="zh-CN" altLang="en-US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</p:txBody>
        </p:sp>
        <p:sp>
          <p:nvSpPr>
            <p:cNvPr id="70" name="矩形标注 69">
              <a:extLst>
                <a:ext uri="{FF2B5EF4-FFF2-40B4-BE49-F238E27FC236}">
                  <a16:creationId xmlns:a16="http://schemas.microsoft.com/office/drawing/2014/main" id="{33526CB8-ED83-3941-9646-99443BA918CF}"/>
                </a:ext>
              </a:extLst>
            </p:cNvPr>
            <p:cNvSpPr/>
            <p:nvPr/>
          </p:nvSpPr>
          <p:spPr>
            <a:xfrm>
              <a:off x="2740772" y="2438180"/>
              <a:ext cx="1247784" cy="761053"/>
            </a:xfrm>
            <a:prstGeom prst="wedgeRectCallout">
              <a:avLst>
                <a:gd name="adj1" fmla="val -79044"/>
                <a:gd name="adj2" fmla="val -53491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提测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Hook:</a:t>
              </a: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1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编译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2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契约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3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接口自动化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4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端自动化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5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QA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 人工准入</a:t>
              </a:r>
            </a:p>
          </p:txBody>
        </p:sp>
        <p:sp>
          <p:nvSpPr>
            <p:cNvPr id="71" name="圆角矩形 70">
              <a:extLst>
                <a:ext uri="{FF2B5EF4-FFF2-40B4-BE49-F238E27FC236}">
                  <a16:creationId xmlns:a16="http://schemas.microsoft.com/office/drawing/2014/main" id="{FBAB60E5-7503-5347-A9C7-714C6A2F2A8A}"/>
                </a:ext>
              </a:extLst>
            </p:cNvPr>
            <p:cNvSpPr/>
            <p:nvPr/>
          </p:nvSpPr>
          <p:spPr>
            <a:xfrm>
              <a:off x="4070625" y="2303944"/>
              <a:ext cx="847021" cy="205763"/>
            </a:xfrm>
            <a:prstGeom prst="roundRect">
              <a:avLst/>
            </a:prstGeom>
            <a:solidFill>
              <a:srgbClr val="4F81BD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Fea_0126</a:t>
              </a:r>
              <a:endParaRPr kumimoji="1" lang="zh-CN" altLang="en-US" sz="1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72" name="肘形连接符 71">
              <a:extLst>
                <a:ext uri="{FF2B5EF4-FFF2-40B4-BE49-F238E27FC236}">
                  <a16:creationId xmlns:a16="http://schemas.microsoft.com/office/drawing/2014/main" id="{830CFCEE-A24F-1D44-8045-0339D51804F3}"/>
                </a:ext>
              </a:extLst>
            </p:cNvPr>
            <p:cNvCxnSpPr>
              <a:endCxn id="71" idx="1"/>
            </p:cNvCxnSpPr>
            <p:nvPr/>
          </p:nvCxnSpPr>
          <p:spPr>
            <a:xfrm>
              <a:off x="2740772" y="2107534"/>
              <a:ext cx="1329853" cy="299292"/>
            </a:xfrm>
            <a:prstGeom prst="bentConnector3">
              <a:avLst>
                <a:gd name="adj1" fmla="val 1410"/>
              </a:avLst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3" name="直线箭头连接符 72">
              <a:extLst>
                <a:ext uri="{FF2B5EF4-FFF2-40B4-BE49-F238E27FC236}">
                  <a16:creationId xmlns:a16="http://schemas.microsoft.com/office/drawing/2014/main" id="{594EAC9D-1C8B-A14C-984B-17ACF3C78C2C}"/>
                </a:ext>
              </a:extLst>
            </p:cNvPr>
            <p:cNvCxnSpPr>
              <a:stCxn id="71" idx="0"/>
            </p:cNvCxnSpPr>
            <p:nvPr/>
          </p:nvCxnSpPr>
          <p:spPr>
            <a:xfrm flipV="1">
              <a:off x="4494136" y="2107535"/>
              <a:ext cx="0" cy="196409"/>
            </a:xfrm>
            <a:prstGeom prst="straightConnector1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矩形标注 73">
              <a:extLst>
                <a:ext uri="{FF2B5EF4-FFF2-40B4-BE49-F238E27FC236}">
                  <a16:creationId xmlns:a16="http://schemas.microsoft.com/office/drawing/2014/main" id="{FF964BC7-92FA-5543-A3F4-E71E6B4E4724}"/>
                </a:ext>
              </a:extLst>
            </p:cNvPr>
            <p:cNvSpPr/>
            <p:nvPr/>
          </p:nvSpPr>
          <p:spPr>
            <a:xfrm>
              <a:off x="606135" y="1398841"/>
              <a:ext cx="2894386" cy="669700"/>
            </a:xfrm>
            <a:prstGeom prst="wedgeRectCallout">
              <a:avLst>
                <a:gd name="adj1" fmla="val 53216"/>
                <a:gd name="adj2" fmla="val -31648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上线 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Hook:</a:t>
              </a:r>
            </a:p>
            <a:p>
              <a:pPr lvl="0"/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1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编译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		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  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	2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接口自动化（全量）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3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端自动化（全量）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	</a:t>
              </a:r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4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性能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5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安全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&amp;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源码扫描（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daily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)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	</a:t>
              </a:r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6、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自定义规范检查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  <a:p>
              <a:pPr lvl="0"/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7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功能测试</a:t>
              </a:r>
              <a:r>
                <a:rPr kumimoji="1" lang="en-US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		</a:t>
              </a:r>
              <a:r>
                <a:rPr kumimoji="1" lang="zh-CN" altLang="zh-CN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8</a:t>
              </a:r>
              <a:r>
                <a:rPr kumimoji="1" lang="zh-CN" altLang="en-US" sz="800" dirty="0">
                  <a:solidFill>
                    <a:prstClr val="black"/>
                  </a:solidFill>
                  <a:latin typeface="微软雅黑"/>
                  <a:ea typeface="微软雅黑"/>
                  <a:cs typeface="微软雅黑"/>
                </a:rPr>
                <a:t>、兼容性测试</a:t>
              </a:r>
              <a:endParaRPr kumimoji="1" lang="en-US" altLang="zh-CN" sz="800" dirty="0">
                <a:solidFill>
                  <a:prstClr val="black"/>
                </a:solidFill>
                <a:latin typeface="微软雅黑"/>
                <a:ea typeface="微软雅黑"/>
                <a:cs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123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I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声明式的基础设施能力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5" name="图片 74">
            <a:extLst>
              <a:ext uri="{FF2B5EF4-FFF2-40B4-BE49-F238E27FC236}">
                <a16:creationId xmlns:a16="http://schemas.microsoft.com/office/drawing/2014/main" id="{E7A91603-0091-6144-ABE5-E3C59E8AD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414" y="705566"/>
            <a:ext cx="8865172" cy="397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380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umin\Desktop\++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1230" y="4684922"/>
            <a:ext cx="7881541" cy="39116"/>
          </a:xfrm>
          <a:prstGeom prst="rect">
            <a:avLst/>
          </a:prstGeom>
          <a:noFill/>
        </p:spPr>
      </p:pic>
      <p:sp>
        <p:nvSpPr>
          <p:cNvPr id="19" name="标题 1">
            <a:extLst>
              <a:ext uri="{FF2B5EF4-FFF2-40B4-BE49-F238E27FC236}">
                <a16:creationId xmlns:a16="http://schemas.microsoft.com/office/drawing/2014/main" id="{223D4419-4FB5-364B-BBAC-1E2F7608E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383" y="61420"/>
            <a:ext cx="7848849" cy="396488"/>
          </a:xfrm>
        </p:spPr>
        <p:txBody>
          <a:bodyPr/>
          <a:lstStyle/>
          <a:p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爱番番</a:t>
            </a:r>
            <a:r>
              <a:rPr kumimoji="1" lang="en-US" altLang="zh-CN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I-</a:t>
            </a:r>
            <a:r>
              <a:rPr kumimoji="1" lang="zh-CN" altLang="en-US" sz="1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声明式的基础设施能力</a:t>
            </a:r>
            <a:endParaRPr kumimoji="1" lang="en-US" altLang="zh-CN" sz="1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BF53D62-2A9F-DB4D-B69A-223B7298D8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405" y="637330"/>
            <a:ext cx="8701190" cy="386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00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7</TotalTime>
  <Words>1382</Words>
  <Application>Microsoft Macintosh PowerPoint</Application>
  <PresentationFormat>全屏显示(16:9)</PresentationFormat>
  <Paragraphs>209</Paragraphs>
  <Slides>21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宋体</vt:lpstr>
      <vt:lpstr>Microsoft YaHei</vt:lpstr>
      <vt:lpstr>Microsoft YaHei</vt:lpstr>
      <vt:lpstr>Arial</vt:lpstr>
      <vt:lpstr>Calibri</vt:lpstr>
      <vt:lpstr>Calibri Light</vt:lpstr>
      <vt:lpstr>Helvetica</vt:lpstr>
      <vt:lpstr>Wingdings</vt:lpstr>
      <vt:lpstr>1_Office 主题</vt:lpstr>
      <vt:lpstr>think-cell Slide</vt:lpstr>
      <vt:lpstr>爱番番持续交付</vt:lpstr>
      <vt:lpstr>爱番番持续交付整体方案</vt:lpstr>
      <vt:lpstr>爱番番业务需求管理</vt:lpstr>
      <vt:lpstr>高价值</vt:lpstr>
      <vt:lpstr>条理清晰-卡片层级划分</vt:lpstr>
      <vt:lpstr>爱番番-数字化度量驱动团队提升</vt:lpstr>
      <vt:lpstr>爱番番-选择合适的研发模式</vt:lpstr>
      <vt:lpstr>爱番番CI-声明式的基础设施能力</vt:lpstr>
      <vt:lpstr>爱番番CI-声明式的基础设施能力</vt:lpstr>
      <vt:lpstr>爱番番CI-智能化的流水线</vt:lpstr>
      <vt:lpstr>爱番番CI-自动化测试</vt:lpstr>
      <vt:lpstr>全链路灰度方案：低成本的实现多套逻辑隔离环境</vt:lpstr>
      <vt:lpstr>PowerPoint 演示文稿</vt:lpstr>
      <vt:lpstr>PowerPoint 演示文稿</vt:lpstr>
      <vt:lpstr>PowerPoint 演示文稿</vt:lpstr>
      <vt:lpstr>爱番番CD-多平台的部署与发布引擎</vt:lpstr>
      <vt:lpstr>爱番番CD-发布剧本生成</vt:lpstr>
      <vt:lpstr>爱番番CD-一键发布</vt:lpstr>
      <vt:lpstr>爱番番-机器人工具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需求拆分</dc:title>
  <dc:creator>baidu</dc:creator>
  <cp:lastModifiedBy>Microsoft Office User</cp:lastModifiedBy>
  <cp:revision>39</cp:revision>
  <dcterms:created xsi:type="dcterms:W3CDTF">2020-04-19T08:03:50Z</dcterms:created>
  <dcterms:modified xsi:type="dcterms:W3CDTF">2021-11-08T10:48:21Z</dcterms:modified>
</cp:coreProperties>
</file>